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2" r:id="rId4"/>
  </p:sldMasterIdLst>
  <p:notesMasterIdLst>
    <p:notesMasterId r:id="rId16"/>
  </p:notesMasterIdLst>
  <p:sldIdLst>
    <p:sldId id="297" r:id="rId5"/>
    <p:sldId id="10568" r:id="rId6"/>
    <p:sldId id="429" r:id="rId7"/>
    <p:sldId id="10575" r:id="rId8"/>
    <p:sldId id="10569" r:id="rId9"/>
    <p:sldId id="10570" r:id="rId10"/>
    <p:sldId id="10571" r:id="rId11"/>
    <p:sldId id="10572" r:id="rId12"/>
    <p:sldId id="10573" r:id="rId13"/>
    <p:sldId id="10574" r:id="rId14"/>
    <p:sldId id="10566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3B634E-ABE0-45C6-AA0D-62F47AAB4958}" v="1" dt="2024-07-16T10:11:36.978"/>
    <p1510:client id="{EDB574A1-9DED-484A-90F0-5CF48BDAD79F}" v="5085" dt="2024-07-17T11:12:24.09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mian Wilson" userId="a748594b-e068-40fa-9c53-2d22039a2a82" providerId="ADAL" clId="{EDB574A1-9DED-484A-90F0-5CF48BDAD79F}"/>
    <pc:docChg chg="undo redo custSel addSld delSld modSld sldOrd">
      <pc:chgData name="Damian Wilson" userId="a748594b-e068-40fa-9c53-2d22039a2a82" providerId="ADAL" clId="{EDB574A1-9DED-484A-90F0-5CF48BDAD79F}" dt="2024-07-17T11:12:24.099" v="10071" actId="20577"/>
      <pc:docMkLst>
        <pc:docMk/>
      </pc:docMkLst>
      <pc:sldChg chg="delSp modSp add del mod">
        <pc:chgData name="Damian Wilson" userId="a748594b-e068-40fa-9c53-2d22039a2a82" providerId="ADAL" clId="{EDB574A1-9DED-484A-90F0-5CF48BDAD79F}" dt="2024-07-15T11:59:12.411" v="4715" actId="2696"/>
        <pc:sldMkLst>
          <pc:docMk/>
          <pc:sldMk cId="0" sldId="256"/>
        </pc:sldMkLst>
        <pc:spChg chg="mod">
          <ac:chgData name="Damian Wilson" userId="a748594b-e068-40fa-9c53-2d22039a2a82" providerId="ADAL" clId="{EDB574A1-9DED-484A-90F0-5CF48BDAD79F}" dt="2024-07-15T11:55:57.672" v="4713" actId="14100"/>
          <ac:spMkLst>
            <pc:docMk/>
            <pc:sldMk cId="0" sldId="256"/>
            <ac:spMk id="110" creationId="{00000000-0000-0000-0000-000000000000}"/>
          </ac:spMkLst>
        </pc:spChg>
        <pc:spChg chg="del">
          <ac:chgData name="Damian Wilson" userId="a748594b-e068-40fa-9c53-2d22039a2a82" providerId="ADAL" clId="{EDB574A1-9DED-484A-90F0-5CF48BDAD79F}" dt="2024-07-15T11:57:41.283" v="4714" actId="478"/>
          <ac:spMkLst>
            <pc:docMk/>
            <pc:sldMk cId="0" sldId="256"/>
            <ac:spMk id="111" creationId="{00000000-0000-0000-0000-000000000000}"/>
          </ac:spMkLst>
        </pc:spChg>
      </pc:sldChg>
      <pc:sldChg chg="add del">
        <pc:chgData name="Damian Wilson" userId="a748594b-e068-40fa-9c53-2d22039a2a82" providerId="ADAL" clId="{EDB574A1-9DED-484A-90F0-5CF48BDAD79F}" dt="2024-07-15T11:59:17.002" v="4717"/>
        <pc:sldMkLst>
          <pc:docMk/>
          <pc:sldMk cId="933946590" sldId="256"/>
        </pc:sldMkLst>
      </pc:sldChg>
      <pc:sldChg chg="modSp del mod">
        <pc:chgData name="Damian Wilson" userId="a748594b-e068-40fa-9c53-2d22039a2a82" providerId="ADAL" clId="{EDB574A1-9DED-484A-90F0-5CF48BDAD79F}" dt="2024-07-16T16:38:50.405" v="5803" actId="2696"/>
        <pc:sldMkLst>
          <pc:docMk/>
          <pc:sldMk cId="0" sldId="280"/>
        </pc:sldMkLst>
        <pc:spChg chg="mod">
          <ac:chgData name="Damian Wilson" userId="a748594b-e068-40fa-9c53-2d22039a2a82" providerId="ADAL" clId="{EDB574A1-9DED-484A-90F0-5CF48BDAD79F}" dt="2024-07-16T16:37:40.494" v="5780" actId="14100"/>
          <ac:spMkLst>
            <pc:docMk/>
            <pc:sldMk cId="0" sldId="280"/>
            <ac:spMk id="1098" creationId="{00000000-0000-0000-0000-000000000000}"/>
          </ac:spMkLst>
        </pc:spChg>
      </pc:sldChg>
      <pc:sldChg chg="addSp delSp modSp add del mod">
        <pc:chgData name="Damian Wilson" userId="a748594b-e068-40fa-9c53-2d22039a2a82" providerId="ADAL" clId="{EDB574A1-9DED-484A-90F0-5CF48BDAD79F}" dt="2024-07-16T17:02:21.654" v="5914" actId="2696"/>
        <pc:sldMkLst>
          <pc:docMk/>
          <pc:sldMk cId="1448915953" sldId="289"/>
        </pc:sldMkLst>
        <pc:spChg chg="mod">
          <ac:chgData name="Damian Wilson" userId="a748594b-e068-40fa-9c53-2d22039a2a82" providerId="ADAL" clId="{EDB574A1-9DED-484A-90F0-5CF48BDAD79F}" dt="2024-07-15T16:30:54.652" v="5011" actId="255"/>
          <ac:spMkLst>
            <pc:docMk/>
            <pc:sldMk cId="1448915953" sldId="289"/>
            <ac:spMk id="2" creationId="{6C5BD188-89F7-21B2-7038-1A23671F08BA}"/>
          </ac:spMkLst>
        </pc:spChg>
        <pc:spChg chg="mod">
          <ac:chgData name="Damian Wilson" userId="a748594b-e068-40fa-9c53-2d22039a2a82" providerId="ADAL" clId="{EDB574A1-9DED-484A-90F0-5CF48BDAD79F}" dt="2024-07-15T10:54:41.255" v="2343" actId="14100"/>
          <ac:spMkLst>
            <pc:docMk/>
            <pc:sldMk cId="1448915953" sldId="289"/>
            <ac:spMk id="3" creationId="{87BB355A-EEFD-302D-C89F-2448AA0AAC15}"/>
          </ac:spMkLst>
        </pc:spChg>
        <pc:picChg chg="mod">
          <ac:chgData name="Damian Wilson" userId="a748594b-e068-40fa-9c53-2d22039a2a82" providerId="ADAL" clId="{EDB574A1-9DED-484A-90F0-5CF48BDAD79F}" dt="2024-07-15T12:02:49.832" v="4787" actId="14100"/>
          <ac:picMkLst>
            <pc:docMk/>
            <pc:sldMk cId="1448915953" sldId="289"/>
            <ac:picMk id="5" creationId="{86F6EB41-194E-62A8-BF3D-981C558379DB}"/>
          </ac:picMkLst>
        </pc:picChg>
        <pc:picChg chg="add mod">
          <ac:chgData name="Damian Wilson" userId="a748594b-e068-40fa-9c53-2d22039a2a82" providerId="ADAL" clId="{EDB574A1-9DED-484A-90F0-5CF48BDAD79F}" dt="2024-07-15T12:03:49.299" v="4810" actId="1038"/>
          <ac:picMkLst>
            <pc:docMk/>
            <pc:sldMk cId="1448915953" sldId="289"/>
            <ac:picMk id="6" creationId="{280CC0C5-ED35-7538-DCAD-55190F5A553D}"/>
          </ac:picMkLst>
        </pc:picChg>
        <pc:picChg chg="del mod">
          <ac:chgData name="Damian Wilson" userId="a748594b-e068-40fa-9c53-2d22039a2a82" providerId="ADAL" clId="{EDB574A1-9DED-484A-90F0-5CF48BDAD79F}" dt="2024-07-15T10:54:31.910" v="2340" actId="478"/>
          <ac:picMkLst>
            <pc:docMk/>
            <pc:sldMk cId="1448915953" sldId="289"/>
            <ac:picMk id="1026" creationId="{22B6B180-230F-79FF-8393-6032573AD42D}"/>
          </ac:picMkLst>
        </pc:picChg>
      </pc:sldChg>
      <pc:sldChg chg="del ord">
        <pc:chgData name="Damian Wilson" userId="a748594b-e068-40fa-9c53-2d22039a2a82" providerId="ADAL" clId="{EDB574A1-9DED-484A-90F0-5CF48BDAD79F}" dt="2024-07-15T11:38:25.475" v="4315" actId="2696"/>
        <pc:sldMkLst>
          <pc:docMk/>
          <pc:sldMk cId="2264770321" sldId="291"/>
        </pc:sldMkLst>
      </pc:sldChg>
      <pc:sldChg chg="addSp modSp del mod modNotesTx">
        <pc:chgData name="Damian Wilson" userId="a748594b-e068-40fa-9c53-2d22039a2a82" providerId="ADAL" clId="{EDB574A1-9DED-484A-90F0-5CF48BDAD79F}" dt="2024-07-16T17:05:20.094" v="5957" actId="2696"/>
        <pc:sldMkLst>
          <pc:docMk/>
          <pc:sldMk cId="2237307589" sldId="295"/>
        </pc:sldMkLst>
        <pc:spChg chg="mod">
          <ac:chgData name="Damian Wilson" userId="a748594b-e068-40fa-9c53-2d22039a2a82" providerId="ADAL" clId="{EDB574A1-9DED-484A-90F0-5CF48BDAD79F}" dt="2024-07-15T11:31:05.954" v="4174" actId="20577"/>
          <ac:spMkLst>
            <pc:docMk/>
            <pc:sldMk cId="2237307589" sldId="295"/>
            <ac:spMk id="2" creationId="{DE030960-C27C-EBFC-E6B0-44A5315E0878}"/>
          </ac:spMkLst>
        </pc:spChg>
        <pc:spChg chg="mod">
          <ac:chgData name="Damian Wilson" userId="a748594b-e068-40fa-9c53-2d22039a2a82" providerId="ADAL" clId="{EDB574A1-9DED-484A-90F0-5CF48BDAD79F}" dt="2024-07-15T11:19:48.122" v="3382" actId="20577"/>
          <ac:spMkLst>
            <pc:docMk/>
            <pc:sldMk cId="2237307589" sldId="295"/>
            <ac:spMk id="3" creationId="{9F7955C7-9FE0-23CC-0066-BBEA09182CBD}"/>
          </ac:spMkLst>
        </pc:spChg>
        <pc:picChg chg="mod">
          <ac:chgData name="Damian Wilson" userId="a748594b-e068-40fa-9c53-2d22039a2a82" providerId="ADAL" clId="{EDB574A1-9DED-484A-90F0-5CF48BDAD79F}" dt="2024-07-15T12:04:17.711" v="4818" actId="1076"/>
          <ac:picMkLst>
            <pc:docMk/>
            <pc:sldMk cId="2237307589" sldId="295"/>
            <ac:picMk id="5" creationId="{11E836CE-3F9B-7F93-1F1F-18D2843FD18C}"/>
          </ac:picMkLst>
        </pc:picChg>
        <pc:picChg chg="add mod">
          <ac:chgData name="Damian Wilson" userId="a748594b-e068-40fa-9c53-2d22039a2a82" providerId="ADAL" clId="{EDB574A1-9DED-484A-90F0-5CF48BDAD79F}" dt="2024-07-15T12:04:06.185" v="4816" actId="1036"/>
          <ac:picMkLst>
            <pc:docMk/>
            <pc:sldMk cId="2237307589" sldId="295"/>
            <ac:picMk id="6" creationId="{FDA9738A-6525-1AF5-98A6-7DF4D5769975}"/>
          </ac:picMkLst>
        </pc:picChg>
      </pc:sldChg>
      <pc:sldChg chg="addSp delSp modSp mod modNotesTx">
        <pc:chgData name="Damian Wilson" userId="a748594b-e068-40fa-9c53-2d22039a2a82" providerId="ADAL" clId="{EDB574A1-9DED-484A-90F0-5CF48BDAD79F}" dt="2024-07-17T10:50:22.134" v="8666" actId="962"/>
        <pc:sldMkLst>
          <pc:docMk/>
          <pc:sldMk cId="654495337" sldId="297"/>
        </pc:sldMkLst>
        <pc:spChg chg="mod">
          <ac:chgData name="Damian Wilson" userId="a748594b-e068-40fa-9c53-2d22039a2a82" providerId="ADAL" clId="{EDB574A1-9DED-484A-90F0-5CF48BDAD79F}" dt="2024-07-15T10:06:08.516" v="24" actId="20577"/>
          <ac:spMkLst>
            <pc:docMk/>
            <pc:sldMk cId="654495337" sldId="297"/>
            <ac:spMk id="2" creationId="{D03926B4-A92C-5972-87CE-5F5DFEE67D3A}"/>
          </ac:spMkLst>
        </pc:spChg>
        <pc:spChg chg="mod">
          <ac:chgData name="Damian Wilson" userId="a748594b-e068-40fa-9c53-2d22039a2a82" providerId="ADAL" clId="{EDB574A1-9DED-484A-90F0-5CF48BDAD79F}" dt="2024-07-15T11:52:55.670" v="4707" actId="113"/>
          <ac:spMkLst>
            <pc:docMk/>
            <pc:sldMk cId="654495337" sldId="297"/>
            <ac:spMk id="3" creationId="{CC74F9AF-05DE-E330-209A-900418702E79}"/>
          </ac:spMkLst>
        </pc:spChg>
        <pc:picChg chg="add mod">
          <ac:chgData name="Damian Wilson" userId="a748594b-e068-40fa-9c53-2d22039a2a82" providerId="ADAL" clId="{EDB574A1-9DED-484A-90F0-5CF48BDAD79F}" dt="2024-07-17T10:50:22.134" v="8666" actId="962"/>
          <ac:picMkLst>
            <pc:docMk/>
            <pc:sldMk cId="654495337" sldId="297"/>
            <ac:picMk id="4" creationId="{5505BAE5-73E9-1420-4303-822447F3F9AC}"/>
          </ac:picMkLst>
        </pc:picChg>
        <pc:picChg chg="add del mod">
          <ac:chgData name="Damian Wilson" userId="a748594b-e068-40fa-9c53-2d22039a2a82" providerId="ADAL" clId="{EDB574A1-9DED-484A-90F0-5CF48BDAD79F}" dt="2024-07-16T17:25:32.072" v="6179" actId="478"/>
          <ac:picMkLst>
            <pc:docMk/>
            <pc:sldMk cId="654495337" sldId="297"/>
            <ac:picMk id="2050" creationId="{7032C1BA-C0F7-1D8B-CC79-1AF3FE8EAA2F}"/>
          </ac:picMkLst>
        </pc:picChg>
      </pc:sldChg>
      <pc:sldChg chg="addSp delSp modSp add mod ord">
        <pc:chgData name="Damian Wilson" userId="a748594b-e068-40fa-9c53-2d22039a2a82" providerId="ADAL" clId="{EDB574A1-9DED-484A-90F0-5CF48BDAD79F}" dt="2024-07-17T11:12:24.099" v="10071" actId="20577"/>
        <pc:sldMkLst>
          <pc:docMk/>
          <pc:sldMk cId="1787384842" sldId="429"/>
        </pc:sldMkLst>
        <pc:spChg chg="del">
          <ac:chgData name="Damian Wilson" userId="a748594b-e068-40fa-9c53-2d22039a2a82" providerId="ADAL" clId="{EDB574A1-9DED-484A-90F0-5CF48BDAD79F}" dt="2024-07-16T16:37:49.346" v="5781" actId="478"/>
          <ac:spMkLst>
            <pc:docMk/>
            <pc:sldMk cId="1787384842" sldId="429"/>
            <ac:spMk id="3" creationId="{E2A43831-6A5A-93BB-AAB4-A9DCE0776769}"/>
          </ac:spMkLst>
        </pc:spChg>
        <pc:spChg chg="mod">
          <ac:chgData name="Damian Wilson" userId="a748594b-e068-40fa-9c53-2d22039a2a82" providerId="ADAL" clId="{EDB574A1-9DED-484A-90F0-5CF48BDAD79F}" dt="2024-07-16T16:37:13.926" v="5777" actId="1076"/>
          <ac:spMkLst>
            <pc:docMk/>
            <pc:sldMk cId="1787384842" sldId="429"/>
            <ac:spMk id="4" creationId="{AE546573-D01C-035D-6638-BC2721978279}"/>
          </ac:spMkLst>
        </pc:spChg>
        <pc:spChg chg="add mod">
          <ac:chgData name="Damian Wilson" userId="a748594b-e068-40fa-9c53-2d22039a2a82" providerId="ADAL" clId="{EDB574A1-9DED-484A-90F0-5CF48BDAD79F}" dt="2024-07-17T11:12:24.099" v="10071" actId="20577"/>
          <ac:spMkLst>
            <pc:docMk/>
            <pc:sldMk cId="1787384842" sldId="429"/>
            <ac:spMk id="5" creationId="{34AE1977-C8AB-81DE-EDC4-BD7833966209}"/>
          </ac:spMkLst>
        </pc:spChg>
        <pc:spChg chg="del mod">
          <ac:chgData name="Damian Wilson" userId="a748594b-e068-40fa-9c53-2d22039a2a82" providerId="ADAL" clId="{EDB574A1-9DED-484A-90F0-5CF48BDAD79F}" dt="2024-07-17T10:56:03.309" v="9899" actId="478"/>
          <ac:spMkLst>
            <pc:docMk/>
            <pc:sldMk cId="1787384842" sldId="429"/>
            <ac:spMk id="12" creationId="{B97439D6-E31A-4515-7E6B-2B31AF3E0965}"/>
          </ac:spMkLst>
        </pc:spChg>
        <pc:graphicFrameChg chg="del">
          <ac:chgData name="Damian Wilson" userId="a748594b-e068-40fa-9c53-2d22039a2a82" providerId="ADAL" clId="{EDB574A1-9DED-484A-90F0-5CF48BDAD79F}" dt="2024-07-16T16:37:18.841" v="5778" actId="478"/>
          <ac:graphicFrameMkLst>
            <pc:docMk/>
            <pc:sldMk cId="1787384842" sldId="429"/>
            <ac:graphicFrameMk id="2" creationId="{10C5B7E5-2633-6ACE-4C9F-5B5DC90675DB}"/>
          </ac:graphicFrameMkLst>
        </pc:graphicFrameChg>
        <pc:picChg chg="mod ord">
          <ac:chgData name="Damian Wilson" userId="a748594b-e068-40fa-9c53-2d22039a2a82" providerId="ADAL" clId="{EDB574A1-9DED-484A-90F0-5CF48BDAD79F}" dt="2024-07-17T10:56:29.865" v="9901" actId="13244"/>
          <ac:picMkLst>
            <pc:docMk/>
            <pc:sldMk cId="1787384842" sldId="429"/>
            <ac:picMk id="6" creationId="{CAE4189E-FAD0-9840-1A27-AAA81747AAD9}"/>
          </ac:picMkLst>
        </pc:picChg>
        <pc:picChg chg="add mod">
          <ac:chgData name="Damian Wilson" userId="a748594b-e068-40fa-9c53-2d22039a2a82" providerId="ADAL" clId="{EDB574A1-9DED-484A-90F0-5CF48BDAD79F}" dt="2024-07-17T10:59:30.187" v="9920" actId="962"/>
          <ac:picMkLst>
            <pc:docMk/>
            <pc:sldMk cId="1787384842" sldId="429"/>
            <ac:picMk id="7" creationId="{09C51C4D-87D4-10D4-886C-A470B5AC700E}"/>
          </ac:picMkLst>
        </pc:picChg>
        <pc:picChg chg="mod">
          <ac:chgData name="Damian Wilson" userId="a748594b-e068-40fa-9c53-2d22039a2a82" providerId="ADAL" clId="{EDB574A1-9DED-484A-90F0-5CF48BDAD79F}" dt="2024-07-17T10:59:31.970" v="9921" actId="962"/>
          <ac:picMkLst>
            <pc:docMk/>
            <pc:sldMk cId="1787384842" sldId="429"/>
            <ac:picMk id="15" creationId="{87089C5A-457E-E450-6AEE-9094D61D25D3}"/>
          </ac:picMkLst>
        </pc:picChg>
      </pc:sldChg>
      <pc:sldChg chg="modSp add del mod">
        <pc:chgData name="Damian Wilson" userId="a748594b-e068-40fa-9c53-2d22039a2a82" providerId="ADAL" clId="{EDB574A1-9DED-484A-90F0-5CF48BDAD79F}" dt="2024-07-15T12:00:49.667" v="4734" actId="2696"/>
        <pc:sldMkLst>
          <pc:docMk/>
          <pc:sldMk cId="1195335122" sldId="437"/>
        </pc:sldMkLst>
        <pc:spChg chg="mod">
          <ac:chgData name="Damian Wilson" userId="a748594b-e068-40fa-9c53-2d22039a2a82" providerId="ADAL" clId="{EDB574A1-9DED-484A-90F0-5CF48BDAD79F}" dt="2024-07-15T10:40:05.853" v="1191" actId="113"/>
          <ac:spMkLst>
            <pc:docMk/>
            <pc:sldMk cId="1195335122" sldId="437"/>
            <ac:spMk id="7" creationId="{8E21D4A0-45F9-CC48-6900-DF7D6EAB82D8}"/>
          </ac:spMkLst>
        </pc:spChg>
        <pc:spChg chg="mod">
          <ac:chgData name="Damian Wilson" userId="a748594b-e068-40fa-9c53-2d22039a2a82" providerId="ADAL" clId="{EDB574A1-9DED-484A-90F0-5CF48BDAD79F}" dt="2024-07-15T11:20:23.770" v="3424" actId="1076"/>
          <ac:spMkLst>
            <pc:docMk/>
            <pc:sldMk cId="1195335122" sldId="437"/>
            <ac:spMk id="9" creationId="{DF62C582-04E5-DBAE-C119-66CFF0F6F7C7}"/>
          </ac:spMkLst>
        </pc:spChg>
      </pc:sldChg>
      <pc:sldChg chg="add del">
        <pc:chgData name="Damian Wilson" userId="a748594b-e068-40fa-9c53-2d22039a2a82" providerId="ADAL" clId="{EDB574A1-9DED-484A-90F0-5CF48BDAD79F}" dt="2024-07-15T12:01:01.476" v="4736"/>
        <pc:sldMkLst>
          <pc:docMk/>
          <pc:sldMk cId="1341114558" sldId="437"/>
        </pc:sldMkLst>
      </pc:sldChg>
      <pc:sldChg chg="add del ord">
        <pc:chgData name="Damian Wilson" userId="a748594b-e068-40fa-9c53-2d22039a2a82" providerId="ADAL" clId="{EDB574A1-9DED-484A-90F0-5CF48BDAD79F}" dt="2024-07-15T11:38:21.808" v="4314" actId="2696"/>
        <pc:sldMkLst>
          <pc:docMk/>
          <pc:sldMk cId="530444869" sldId="10557"/>
        </pc:sldMkLst>
      </pc:sldChg>
      <pc:sldChg chg="addSp delSp modSp new del mod">
        <pc:chgData name="Damian Wilson" userId="a748594b-e068-40fa-9c53-2d22039a2a82" providerId="ADAL" clId="{EDB574A1-9DED-484A-90F0-5CF48BDAD79F}" dt="2024-07-15T10:20:43.451" v="304" actId="2696"/>
        <pc:sldMkLst>
          <pc:docMk/>
          <pc:sldMk cId="1795152841" sldId="10558"/>
        </pc:sldMkLst>
        <pc:spChg chg="mod">
          <ac:chgData name="Damian Wilson" userId="a748594b-e068-40fa-9c53-2d22039a2a82" providerId="ADAL" clId="{EDB574A1-9DED-484A-90F0-5CF48BDAD79F}" dt="2024-07-15T10:19:32.466" v="296" actId="14100"/>
          <ac:spMkLst>
            <pc:docMk/>
            <pc:sldMk cId="1795152841" sldId="10558"/>
            <ac:spMk id="2" creationId="{D0B11E55-DFF9-E8AF-C9D6-6865C8F84897}"/>
          </ac:spMkLst>
        </pc:spChg>
        <pc:spChg chg="mod">
          <ac:chgData name="Damian Wilson" userId="a748594b-e068-40fa-9c53-2d22039a2a82" providerId="ADAL" clId="{EDB574A1-9DED-484A-90F0-5CF48BDAD79F}" dt="2024-07-15T10:19:45.498" v="300" actId="1076"/>
          <ac:spMkLst>
            <pc:docMk/>
            <pc:sldMk cId="1795152841" sldId="10558"/>
            <ac:spMk id="3" creationId="{97D89DBE-4679-3EDC-993C-DED95FD556B2}"/>
          </ac:spMkLst>
        </pc:spChg>
        <pc:spChg chg="add del">
          <ac:chgData name="Damian Wilson" userId="a748594b-e068-40fa-9c53-2d22039a2a82" providerId="ADAL" clId="{EDB574A1-9DED-484A-90F0-5CF48BDAD79F}" dt="2024-07-15T10:18:11.534" v="227" actId="478"/>
          <ac:spMkLst>
            <pc:docMk/>
            <pc:sldMk cId="1795152841" sldId="10558"/>
            <ac:spMk id="4" creationId="{EB67F8BB-1F6B-2BC4-76F1-072106604215}"/>
          </ac:spMkLst>
        </pc:spChg>
        <pc:picChg chg="add mod">
          <ac:chgData name="Damian Wilson" userId="a748594b-e068-40fa-9c53-2d22039a2a82" providerId="ADAL" clId="{EDB574A1-9DED-484A-90F0-5CF48BDAD79F}" dt="2024-07-15T10:19:37.659" v="298" actId="1076"/>
          <ac:picMkLst>
            <pc:docMk/>
            <pc:sldMk cId="1795152841" sldId="10558"/>
            <ac:picMk id="6" creationId="{F07583E4-1AD7-2D91-C215-916BDDFA3EA0}"/>
          </ac:picMkLst>
        </pc:picChg>
      </pc:sldChg>
      <pc:sldChg chg="addSp modSp new del mod modNotesTx">
        <pc:chgData name="Damian Wilson" userId="a748594b-e068-40fa-9c53-2d22039a2a82" providerId="ADAL" clId="{EDB574A1-9DED-484A-90F0-5CF48BDAD79F}" dt="2024-07-16T16:57:55.785" v="5858" actId="2696"/>
        <pc:sldMkLst>
          <pc:docMk/>
          <pc:sldMk cId="660353887" sldId="10559"/>
        </pc:sldMkLst>
        <pc:spChg chg="mod">
          <ac:chgData name="Damian Wilson" userId="a748594b-e068-40fa-9c53-2d22039a2a82" providerId="ADAL" clId="{EDB574A1-9DED-484A-90F0-5CF48BDAD79F}" dt="2024-07-15T11:18:04.369" v="3299" actId="20577"/>
          <ac:spMkLst>
            <pc:docMk/>
            <pc:sldMk cId="660353887" sldId="10559"/>
            <ac:spMk id="2" creationId="{17EE38CE-27E4-B106-6082-AC9DDB156AD7}"/>
          </ac:spMkLst>
        </pc:spChg>
        <pc:spChg chg="mod">
          <ac:chgData name="Damian Wilson" userId="a748594b-e068-40fa-9c53-2d22039a2a82" providerId="ADAL" clId="{EDB574A1-9DED-484A-90F0-5CF48BDAD79F}" dt="2024-07-15T16:20:39.322" v="4879" actId="20577"/>
          <ac:spMkLst>
            <pc:docMk/>
            <pc:sldMk cId="660353887" sldId="10559"/>
            <ac:spMk id="3" creationId="{98097D9C-5B80-C8AD-03FD-7830582B27B5}"/>
          </ac:spMkLst>
        </pc:spChg>
        <pc:spChg chg="add mod">
          <ac:chgData name="Damian Wilson" userId="a748594b-e068-40fa-9c53-2d22039a2a82" providerId="ADAL" clId="{EDB574A1-9DED-484A-90F0-5CF48BDAD79F}" dt="2024-07-15T12:00:09.837" v="4730" actId="14100"/>
          <ac:spMkLst>
            <pc:docMk/>
            <pc:sldMk cId="660353887" sldId="10559"/>
            <ac:spMk id="5" creationId="{65DDC2EE-E80B-3155-0AD1-129C0F3C1911}"/>
          </ac:spMkLst>
        </pc:spChg>
        <pc:picChg chg="add mod">
          <ac:chgData name="Damian Wilson" userId="a748594b-e068-40fa-9c53-2d22039a2a82" providerId="ADAL" clId="{EDB574A1-9DED-484A-90F0-5CF48BDAD79F}" dt="2024-07-15T12:00:17.314" v="4731" actId="14100"/>
          <ac:picMkLst>
            <pc:docMk/>
            <pc:sldMk cId="660353887" sldId="10559"/>
            <ac:picMk id="4" creationId="{3C31BAAA-6F81-F28E-8079-BFE02A083D5B}"/>
          </ac:picMkLst>
        </pc:picChg>
        <pc:picChg chg="add mod">
          <ac:chgData name="Damian Wilson" userId="a748594b-e068-40fa-9c53-2d22039a2a82" providerId="ADAL" clId="{EDB574A1-9DED-484A-90F0-5CF48BDAD79F}" dt="2024-07-15T11:59:50.378" v="4727" actId="1036"/>
          <ac:picMkLst>
            <pc:docMk/>
            <pc:sldMk cId="660353887" sldId="10559"/>
            <ac:picMk id="7" creationId="{88BF8F61-3DBB-994E-0FB2-AA32AEE3A2C2}"/>
          </ac:picMkLst>
        </pc:picChg>
      </pc:sldChg>
      <pc:sldChg chg="addSp delSp modSp add del mod ord">
        <pc:chgData name="Damian Wilson" userId="a748594b-e068-40fa-9c53-2d22039a2a82" providerId="ADAL" clId="{EDB574A1-9DED-484A-90F0-5CF48BDAD79F}" dt="2024-07-16T16:59:42.779" v="5880" actId="2696"/>
        <pc:sldMkLst>
          <pc:docMk/>
          <pc:sldMk cId="1509507440" sldId="10560"/>
        </pc:sldMkLst>
        <pc:spChg chg="del">
          <ac:chgData name="Damian Wilson" userId="a748594b-e068-40fa-9c53-2d22039a2a82" providerId="ADAL" clId="{EDB574A1-9DED-484A-90F0-5CF48BDAD79F}" dt="2024-07-15T10:40:52.441" v="1195" actId="478"/>
          <ac:spMkLst>
            <pc:docMk/>
            <pc:sldMk cId="1509507440" sldId="10560"/>
            <ac:spMk id="3" creationId="{6D4543AE-C341-6A64-08F0-0EB22E05E0F1}"/>
          </ac:spMkLst>
        </pc:spChg>
        <pc:spChg chg="del">
          <ac:chgData name="Damian Wilson" userId="a748594b-e068-40fa-9c53-2d22039a2a82" providerId="ADAL" clId="{EDB574A1-9DED-484A-90F0-5CF48BDAD79F}" dt="2024-07-15T10:41:10.860" v="1197" actId="478"/>
          <ac:spMkLst>
            <pc:docMk/>
            <pc:sldMk cId="1509507440" sldId="10560"/>
            <ac:spMk id="4" creationId="{E18DA9EC-A0ED-4F7E-8BC1-3D02D7AAE35F}"/>
          </ac:spMkLst>
        </pc:spChg>
        <pc:spChg chg="del">
          <ac:chgData name="Damian Wilson" userId="a748594b-e068-40fa-9c53-2d22039a2a82" providerId="ADAL" clId="{EDB574A1-9DED-484A-90F0-5CF48BDAD79F}" dt="2024-07-15T10:40:55.909" v="1196" actId="478"/>
          <ac:spMkLst>
            <pc:docMk/>
            <pc:sldMk cId="1509507440" sldId="10560"/>
            <ac:spMk id="5" creationId="{9C027E34-2BEC-4F6C-8A97-D2BA6B20E041}"/>
          </ac:spMkLst>
        </pc:spChg>
        <pc:spChg chg="add mod">
          <ac:chgData name="Damian Wilson" userId="a748594b-e068-40fa-9c53-2d22039a2a82" providerId="ADAL" clId="{EDB574A1-9DED-484A-90F0-5CF48BDAD79F}" dt="2024-07-15T10:47:48.475" v="1735" actId="14100"/>
          <ac:spMkLst>
            <pc:docMk/>
            <pc:sldMk cId="1509507440" sldId="10560"/>
            <ac:spMk id="10" creationId="{1B5A0034-7396-0CD7-B1B0-CFEF05EFCEF0}"/>
          </ac:spMkLst>
        </pc:spChg>
        <pc:spChg chg="add del mod">
          <ac:chgData name="Damian Wilson" userId="a748594b-e068-40fa-9c53-2d22039a2a82" providerId="ADAL" clId="{EDB574A1-9DED-484A-90F0-5CF48BDAD79F}" dt="2024-07-15T10:41:14.947" v="1198" actId="478"/>
          <ac:spMkLst>
            <pc:docMk/>
            <pc:sldMk cId="1509507440" sldId="10560"/>
            <ac:spMk id="12" creationId="{4DC014FB-7054-E74B-9DD9-8E7304C454F7}"/>
          </ac:spMkLst>
        </pc:spChg>
        <pc:spChg chg="add mod">
          <ac:chgData name="Damian Wilson" userId="a748594b-e068-40fa-9c53-2d22039a2a82" providerId="ADAL" clId="{EDB574A1-9DED-484A-90F0-5CF48BDAD79F}" dt="2024-07-15T10:41:44.682" v="1262" actId="20577"/>
          <ac:spMkLst>
            <pc:docMk/>
            <pc:sldMk cId="1509507440" sldId="10560"/>
            <ac:spMk id="13" creationId="{F1845CCE-772D-5B0C-A378-DA20B2097A28}"/>
          </ac:spMkLst>
        </pc:spChg>
        <pc:spChg chg="add mod">
          <ac:chgData name="Damian Wilson" userId="a748594b-e068-40fa-9c53-2d22039a2a82" providerId="ADAL" clId="{EDB574A1-9DED-484A-90F0-5CF48BDAD79F}" dt="2024-07-15T10:47:45.888" v="1734" actId="14100"/>
          <ac:spMkLst>
            <pc:docMk/>
            <pc:sldMk cId="1509507440" sldId="10560"/>
            <ac:spMk id="14" creationId="{6A16A98D-6DF1-7EBC-FFAE-D414E43C15E4}"/>
          </ac:spMkLst>
        </pc:spChg>
        <pc:spChg chg="add mod">
          <ac:chgData name="Damian Wilson" userId="a748594b-e068-40fa-9c53-2d22039a2a82" providerId="ADAL" clId="{EDB574A1-9DED-484A-90F0-5CF48BDAD79F}" dt="2024-07-15T12:01:26.209" v="4766" actId="1036"/>
          <ac:spMkLst>
            <pc:docMk/>
            <pc:sldMk cId="1509507440" sldId="10560"/>
            <ac:spMk id="15" creationId="{72B4A277-0113-9C1A-80D8-B50473ED2266}"/>
          </ac:spMkLst>
        </pc:spChg>
        <pc:spChg chg="add mod">
          <ac:chgData name="Damian Wilson" userId="a748594b-e068-40fa-9c53-2d22039a2a82" providerId="ADAL" clId="{EDB574A1-9DED-484A-90F0-5CF48BDAD79F}" dt="2024-07-15T12:01:26.209" v="4766" actId="1036"/>
          <ac:spMkLst>
            <pc:docMk/>
            <pc:sldMk cId="1509507440" sldId="10560"/>
            <ac:spMk id="16" creationId="{B3664BA3-534A-3CCD-0FB7-C7D7F55A91FE}"/>
          </ac:spMkLst>
        </pc:spChg>
        <pc:picChg chg="mod">
          <ac:chgData name="Damian Wilson" userId="a748594b-e068-40fa-9c53-2d22039a2a82" providerId="ADAL" clId="{EDB574A1-9DED-484A-90F0-5CF48BDAD79F}" dt="2024-07-15T10:45:14.168" v="1491" actId="1036"/>
          <ac:picMkLst>
            <pc:docMk/>
            <pc:sldMk cId="1509507440" sldId="10560"/>
            <ac:picMk id="2" creationId="{EC058C48-99A8-EA3E-FBB2-4F717BA3C601}"/>
          </ac:picMkLst>
        </pc:picChg>
        <pc:picChg chg="mod">
          <ac:chgData name="Damian Wilson" userId="a748594b-e068-40fa-9c53-2d22039a2a82" providerId="ADAL" clId="{EDB574A1-9DED-484A-90F0-5CF48BDAD79F}" dt="2024-07-15T10:45:14.168" v="1491" actId="1036"/>
          <ac:picMkLst>
            <pc:docMk/>
            <pc:sldMk cId="1509507440" sldId="10560"/>
            <ac:picMk id="6" creationId="{2E3815D1-E05F-AEF4-43AE-9E4021A5EDFD}"/>
          </ac:picMkLst>
        </pc:picChg>
        <pc:picChg chg="mod">
          <ac:chgData name="Damian Wilson" userId="a748594b-e068-40fa-9c53-2d22039a2a82" providerId="ADAL" clId="{EDB574A1-9DED-484A-90F0-5CF48BDAD79F}" dt="2024-07-15T12:01:26.209" v="4766" actId="1036"/>
          <ac:picMkLst>
            <pc:docMk/>
            <pc:sldMk cId="1509507440" sldId="10560"/>
            <ac:picMk id="7" creationId="{2DB62F40-43CA-41AB-E928-0CCAEE85408F}"/>
          </ac:picMkLst>
        </pc:picChg>
        <pc:picChg chg="mod">
          <ac:chgData name="Damian Wilson" userId="a748594b-e068-40fa-9c53-2d22039a2a82" providerId="ADAL" clId="{EDB574A1-9DED-484A-90F0-5CF48BDAD79F}" dt="2024-07-15T12:01:26.209" v="4766" actId="1036"/>
          <ac:picMkLst>
            <pc:docMk/>
            <pc:sldMk cId="1509507440" sldId="10560"/>
            <ac:picMk id="8" creationId="{1C1EA649-9EC1-89D6-B9BB-D1A8FCD1AF47}"/>
          </ac:picMkLst>
        </pc:picChg>
        <pc:picChg chg="add mod">
          <ac:chgData name="Damian Wilson" userId="a748594b-e068-40fa-9c53-2d22039a2a82" providerId="ADAL" clId="{EDB574A1-9DED-484A-90F0-5CF48BDAD79F}" dt="2024-07-15T12:03:53.586" v="4811" actId="1038"/>
          <ac:picMkLst>
            <pc:docMk/>
            <pc:sldMk cId="1509507440" sldId="10560"/>
            <ac:picMk id="18" creationId="{257BF88C-4593-0A05-E095-8E1A69788865}"/>
          </ac:picMkLst>
        </pc:picChg>
      </pc:sldChg>
      <pc:sldChg chg="add del ord">
        <pc:chgData name="Damian Wilson" userId="a748594b-e068-40fa-9c53-2d22039a2a82" providerId="ADAL" clId="{EDB574A1-9DED-484A-90F0-5CF48BDAD79F}" dt="2024-07-15T11:38:49.911" v="4316" actId="2696"/>
        <pc:sldMkLst>
          <pc:docMk/>
          <pc:sldMk cId="1779981016" sldId="10561"/>
        </pc:sldMkLst>
      </pc:sldChg>
      <pc:sldChg chg="addSp delSp modSp new del mod modNotesTx">
        <pc:chgData name="Damian Wilson" userId="a748594b-e068-40fa-9c53-2d22039a2a82" providerId="ADAL" clId="{EDB574A1-9DED-484A-90F0-5CF48BDAD79F}" dt="2024-07-16T17:08:14.053" v="5975" actId="2696"/>
        <pc:sldMkLst>
          <pc:docMk/>
          <pc:sldMk cId="2874175370" sldId="10562"/>
        </pc:sldMkLst>
        <pc:spChg chg="del">
          <ac:chgData name="Damian Wilson" userId="a748594b-e068-40fa-9c53-2d22039a2a82" providerId="ADAL" clId="{EDB574A1-9DED-484A-90F0-5CF48BDAD79F}" dt="2024-07-15T11:15:57.062" v="3007" actId="478"/>
          <ac:spMkLst>
            <pc:docMk/>
            <pc:sldMk cId="2874175370" sldId="10562"/>
            <ac:spMk id="2" creationId="{58316F47-063A-451D-DD58-E30CF6F18CC9}"/>
          </ac:spMkLst>
        </pc:spChg>
        <pc:spChg chg="mod">
          <ac:chgData name="Damian Wilson" userId="a748594b-e068-40fa-9c53-2d22039a2a82" providerId="ADAL" clId="{EDB574A1-9DED-484A-90F0-5CF48BDAD79F}" dt="2024-07-15T12:05:13.328" v="4838" actId="1076"/>
          <ac:spMkLst>
            <pc:docMk/>
            <pc:sldMk cId="2874175370" sldId="10562"/>
            <ac:spMk id="3" creationId="{BD1D0152-D759-2169-3B10-83D4FD8351AE}"/>
          </ac:spMkLst>
        </pc:spChg>
        <pc:picChg chg="add mod">
          <ac:chgData name="Damian Wilson" userId="a748594b-e068-40fa-9c53-2d22039a2a82" providerId="ADAL" clId="{EDB574A1-9DED-484A-90F0-5CF48BDAD79F}" dt="2024-07-15T12:05:07.660" v="4837" actId="1035"/>
          <ac:picMkLst>
            <pc:docMk/>
            <pc:sldMk cId="2874175370" sldId="10562"/>
            <ac:picMk id="4" creationId="{8ACAC0D8-2269-DE64-9CCD-97A677BE63B1}"/>
          </ac:picMkLst>
        </pc:picChg>
        <pc:picChg chg="add del mod">
          <ac:chgData name="Damian Wilson" userId="a748594b-e068-40fa-9c53-2d22039a2a82" providerId="ADAL" clId="{EDB574A1-9DED-484A-90F0-5CF48BDAD79F}" dt="2024-07-15T12:05:30.523" v="4839" actId="478"/>
          <ac:picMkLst>
            <pc:docMk/>
            <pc:sldMk cId="2874175370" sldId="10562"/>
            <ac:picMk id="6" creationId="{2B688DE0-C8ED-3894-9BF0-86B56B2B7BBC}"/>
          </ac:picMkLst>
        </pc:picChg>
      </pc:sldChg>
      <pc:sldChg chg="addSp delSp modSp new del mod modAnim">
        <pc:chgData name="Damian Wilson" userId="a748594b-e068-40fa-9c53-2d22039a2a82" providerId="ADAL" clId="{EDB574A1-9DED-484A-90F0-5CF48BDAD79F}" dt="2024-07-16T17:14:37.172" v="6052" actId="2696"/>
        <pc:sldMkLst>
          <pc:docMk/>
          <pc:sldMk cId="1861623699" sldId="10563"/>
        </pc:sldMkLst>
        <pc:spChg chg="mod">
          <ac:chgData name="Damian Wilson" userId="a748594b-e068-40fa-9c53-2d22039a2a82" providerId="ADAL" clId="{EDB574A1-9DED-484A-90F0-5CF48BDAD79F}" dt="2024-07-15T16:29:21.707" v="5006" actId="20577"/>
          <ac:spMkLst>
            <pc:docMk/>
            <pc:sldMk cId="1861623699" sldId="10563"/>
            <ac:spMk id="2" creationId="{07946101-3398-EC58-3BF9-3FC06AE27DBA}"/>
          </ac:spMkLst>
        </pc:spChg>
        <pc:spChg chg="mod">
          <ac:chgData name="Damian Wilson" userId="a748594b-e068-40fa-9c53-2d22039a2a82" providerId="ADAL" clId="{EDB574A1-9DED-484A-90F0-5CF48BDAD79F}" dt="2024-07-15T11:40:06.215" v="4381" actId="1076"/>
          <ac:spMkLst>
            <pc:docMk/>
            <pc:sldMk cId="1861623699" sldId="10563"/>
            <ac:spMk id="3" creationId="{071B4660-749F-E4D6-69FF-6483F3DDEFA1}"/>
          </ac:spMkLst>
        </pc:spChg>
        <pc:spChg chg="mod">
          <ac:chgData name="Damian Wilson" userId="a748594b-e068-40fa-9c53-2d22039a2a82" providerId="ADAL" clId="{EDB574A1-9DED-484A-90F0-5CF48BDAD79F}" dt="2024-07-15T11:41:09.011" v="4383"/>
          <ac:spMkLst>
            <pc:docMk/>
            <pc:sldMk cId="1861623699" sldId="10563"/>
            <ac:spMk id="8" creationId="{3BEAD37A-B630-A77A-BF34-6132AC07C7C7}"/>
          </ac:spMkLst>
        </pc:spChg>
        <pc:spChg chg="mod">
          <ac:chgData name="Damian Wilson" userId="a748594b-e068-40fa-9c53-2d22039a2a82" providerId="ADAL" clId="{EDB574A1-9DED-484A-90F0-5CF48BDAD79F}" dt="2024-07-15T11:41:09.011" v="4383"/>
          <ac:spMkLst>
            <pc:docMk/>
            <pc:sldMk cId="1861623699" sldId="10563"/>
            <ac:spMk id="10" creationId="{53DD27D9-11CF-6C8D-10DD-DBB729B401DC}"/>
          </ac:spMkLst>
        </pc:spChg>
        <pc:spChg chg="mod">
          <ac:chgData name="Damian Wilson" userId="a748594b-e068-40fa-9c53-2d22039a2a82" providerId="ADAL" clId="{EDB574A1-9DED-484A-90F0-5CF48BDAD79F}" dt="2024-07-15T11:41:09.011" v="4383"/>
          <ac:spMkLst>
            <pc:docMk/>
            <pc:sldMk cId="1861623699" sldId="10563"/>
            <ac:spMk id="12" creationId="{2CA3BD44-ED9A-E5BE-E09D-50C79816857A}"/>
          </ac:spMkLst>
        </pc:spChg>
        <pc:spChg chg="add mod">
          <ac:chgData name="Damian Wilson" userId="a748594b-e068-40fa-9c53-2d22039a2a82" providerId="ADAL" clId="{EDB574A1-9DED-484A-90F0-5CF48BDAD79F}" dt="2024-07-15T16:28:03.277" v="4962" actId="1076"/>
          <ac:spMkLst>
            <pc:docMk/>
            <pc:sldMk cId="1861623699" sldId="10563"/>
            <ac:spMk id="14" creationId="{18F0471E-8942-641F-78F2-E660DAEC57ED}"/>
          </ac:spMkLst>
        </pc:spChg>
        <pc:spChg chg="add mod">
          <ac:chgData name="Damian Wilson" userId="a748594b-e068-40fa-9c53-2d22039a2a82" providerId="ADAL" clId="{EDB574A1-9DED-484A-90F0-5CF48BDAD79F}" dt="2024-07-15T16:28:16.236" v="4964" actId="1076"/>
          <ac:spMkLst>
            <pc:docMk/>
            <pc:sldMk cId="1861623699" sldId="10563"/>
            <ac:spMk id="15" creationId="{C350FB61-D683-23D6-EFFC-FEC6588B4E94}"/>
          </ac:spMkLst>
        </pc:spChg>
        <pc:spChg chg="add mod">
          <ac:chgData name="Damian Wilson" userId="a748594b-e068-40fa-9c53-2d22039a2a82" providerId="ADAL" clId="{EDB574A1-9DED-484A-90F0-5CF48BDAD79F}" dt="2024-07-15T16:28:12.008" v="4963" actId="1076"/>
          <ac:spMkLst>
            <pc:docMk/>
            <pc:sldMk cId="1861623699" sldId="10563"/>
            <ac:spMk id="16" creationId="{9767647D-9CB6-69DD-63D4-B216FA976AA9}"/>
          </ac:spMkLst>
        </pc:spChg>
        <pc:spChg chg="add mod">
          <ac:chgData name="Damian Wilson" userId="a748594b-e068-40fa-9c53-2d22039a2a82" providerId="ADAL" clId="{EDB574A1-9DED-484A-90F0-5CF48BDAD79F}" dt="2024-07-15T16:28:34.464" v="4966" actId="1076"/>
          <ac:spMkLst>
            <pc:docMk/>
            <pc:sldMk cId="1861623699" sldId="10563"/>
            <ac:spMk id="17" creationId="{576D3B50-E86C-B1C0-38F0-BF5E247AF270}"/>
          </ac:spMkLst>
        </pc:spChg>
        <pc:grpChg chg="add mod">
          <ac:chgData name="Damian Wilson" userId="a748594b-e068-40fa-9c53-2d22039a2a82" providerId="ADAL" clId="{EDB574A1-9DED-484A-90F0-5CF48BDAD79F}" dt="2024-07-15T16:27:59.310" v="4961" actId="14100"/>
          <ac:grpSpMkLst>
            <pc:docMk/>
            <pc:sldMk cId="1861623699" sldId="10563"/>
            <ac:grpSpMk id="4" creationId="{9C3D385F-2DE3-8D8E-8BA1-A09219B586F9}"/>
          </ac:grpSpMkLst>
        </pc:grpChg>
        <pc:grpChg chg="mod">
          <ac:chgData name="Damian Wilson" userId="a748594b-e068-40fa-9c53-2d22039a2a82" providerId="ADAL" clId="{EDB574A1-9DED-484A-90F0-5CF48BDAD79F}" dt="2024-07-15T11:41:09.011" v="4383"/>
          <ac:grpSpMkLst>
            <pc:docMk/>
            <pc:sldMk cId="1861623699" sldId="10563"/>
            <ac:grpSpMk id="5" creationId="{51232CC4-D521-D965-A76F-BBED47E4DBF5}"/>
          </ac:grpSpMkLst>
        </pc:grpChg>
        <pc:grpChg chg="mod">
          <ac:chgData name="Damian Wilson" userId="a748594b-e068-40fa-9c53-2d22039a2a82" providerId="ADAL" clId="{EDB574A1-9DED-484A-90F0-5CF48BDAD79F}" dt="2024-07-15T11:41:09.011" v="4383"/>
          <ac:grpSpMkLst>
            <pc:docMk/>
            <pc:sldMk cId="1861623699" sldId="10563"/>
            <ac:grpSpMk id="6" creationId="{A1F7853C-CB17-DEF1-CAE0-D188B2E76AAD}"/>
          </ac:grpSpMkLst>
        </pc:grpChg>
        <pc:grpChg chg="mod">
          <ac:chgData name="Damian Wilson" userId="a748594b-e068-40fa-9c53-2d22039a2a82" providerId="ADAL" clId="{EDB574A1-9DED-484A-90F0-5CF48BDAD79F}" dt="2024-07-15T11:41:09.011" v="4383"/>
          <ac:grpSpMkLst>
            <pc:docMk/>
            <pc:sldMk cId="1861623699" sldId="10563"/>
            <ac:grpSpMk id="7" creationId="{AE35A066-6D07-33BD-74AE-E91457833E98}"/>
          </ac:grpSpMkLst>
        </pc:grpChg>
        <pc:picChg chg="mod">
          <ac:chgData name="Damian Wilson" userId="a748594b-e068-40fa-9c53-2d22039a2a82" providerId="ADAL" clId="{EDB574A1-9DED-484A-90F0-5CF48BDAD79F}" dt="2024-07-15T11:41:09.011" v="4383"/>
          <ac:picMkLst>
            <pc:docMk/>
            <pc:sldMk cId="1861623699" sldId="10563"/>
            <ac:picMk id="9" creationId="{FF219760-A038-D2F6-DE44-783D4DF55C31}"/>
          </ac:picMkLst>
        </pc:picChg>
        <pc:picChg chg="mod">
          <ac:chgData name="Damian Wilson" userId="a748594b-e068-40fa-9c53-2d22039a2a82" providerId="ADAL" clId="{EDB574A1-9DED-484A-90F0-5CF48BDAD79F}" dt="2024-07-15T11:41:09.011" v="4383"/>
          <ac:picMkLst>
            <pc:docMk/>
            <pc:sldMk cId="1861623699" sldId="10563"/>
            <ac:picMk id="11" creationId="{B3DB0EE6-06C2-4674-B0FB-2866DB5E440B}"/>
          </ac:picMkLst>
        </pc:picChg>
        <pc:picChg chg="mod">
          <ac:chgData name="Damian Wilson" userId="a748594b-e068-40fa-9c53-2d22039a2a82" providerId="ADAL" clId="{EDB574A1-9DED-484A-90F0-5CF48BDAD79F}" dt="2024-07-15T11:41:09.011" v="4383"/>
          <ac:picMkLst>
            <pc:docMk/>
            <pc:sldMk cId="1861623699" sldId="10563"/>
            <ac:picMk id="13" creationId="{CE56C740-AFD7-3408-62EC-C0253EDA410B}"/>
          </ac:picMkLst>
        </pc:picChg>
        <pc:picChg chg="add del">
          <ac:chgData name="Damian Wilson" userId="a748594b-e068-40fa-9c53-2d22039a2a82" providerId="ADAL" clId="{EDB574A1-9DED-484A-90F0-5CF48BDAD79F}" dt="2024-07-15T16:26:54.243" v="4948" actId="478"/>
          <ac:picMkLst>
            <pc:docMk/>
            <pc:sldMk cId="1861623699" sldId="10563"/>
            <ac:picMk id="19" creationId="{964CD67C-975C-EC29-1F72-B2622127EB83}"/>
          </ac:picMkLst>
        </pc:picChg>
        <pc:picChg chg="add mod">
          <ac:chgData name="Damian Wilson" userId="a748594b-e068-40fa-9c53-2d22039a2a82" providerId="ADAL" clId="{EDB574A1-9DED-484A-90F0-5CF48BDAD79F}" dt="2024-07-15T12:05:49.567" v="4874" actId="1036"/>
          <ac:picMkLst>
            <pc:docMk/>
            <pc:sldMk cId="1861623699" sldId="10563"/>
            <ac:picMk id="21" creationId="{B4187D92-1828-B3E2-2FFE-09D1AD4A7794}"/>
          </ac:picMkLst>
        </pc:picChg>
      </pc:sldChg>
      <pc:sldChg chg="addSp delSp modSp new del mod">
        <pc:chgData name="Damian Wilson" userId="a748594b-e068-40fa-9c53-2d22039a2a82" providerId="ADAL" clId="{EDB574A1-9DED-484A-90F0-5CF48BDAD79F}" dt="2024-07-16T16:57:59.745" v="5859" actId="2696"/>
        <pc:sldMkLst>
          <pc:docMk/>
          <pc:sldMk cId="2583879515" sldId="10564"/>
        </pc:sldMkLst>
        <pc:spChg chg="del">
          <ac:chgData name="Damian Wilson" userId="a748594b-e068-40fa-9c53-2d22039a2a82" providerId="ADAL" clId="{EDB574A1-9DED-484A-90F0-5CF48BDAD79F}" dt="2024-07-15T11:37:30.249" v="4306" actId="478"/>
          <ac:spMkLst>
            <pc:docMk/>
            <pc:sldMk cId="2583879515" sldId="10564"/>
            <ac:spMk id="2" creationId="{7CA60E6F-D289-EECA-B9C9-20DB4EE94D21}"/>
          </ac:spMkLst>
        </pc:spChg>
        <pc:spChg chg="del">
          <ac:chgData name="Damian Wilson" userId="a748594b-e068-40fa-9c53-2d22039a2a82" providerId="ADAL" clId="{EDB574A1-9DED-484A-90F0-5CF48BDAD79F}" dt="2024-07-15T11:37:28.087" v="4305" actId="478"/>
          <ac:spMkLst>
            <pc:docMk/>
            <pc:sldMk cId="2583879515" sldId="10564"/>
            <ac:spMk id="3" creationId="{EDE24A50-D390-788A-948F-6419E5248390}"/>
          </ac:spMkLst>
        </pc:spChg>
        <pc:picChg chg="add del mod">
          <ac:chgData name="Damian Wilson" userId="a748594b-e068-40fa-9c53-2d22039a2a82" providerId="ADAL" clId="{EDB574A1-9DED-484A-90F0-5CF48BDAD79F}" dt="2024-07-15T16:24:43.743" v="4892" actId="478"/>
          <ac:picMkLst>
            <pc:docMk/>
            <pc:sldMk cId="2583879515" sldId="10564"/>
            <ac:picMk id="5" creationId="{A4C6D4EE-6CFF-D577-E141-34FA97B612F0}"/>
          </ac:picMkLst>
        </pc:picChg>
        <pc:picChg chg="add mod">
          <ac:chgData name="Damian Wilson" userId="a748594b-e068-40fa-9c53-2d22039a2a82" providerId="ADAL" clId="{EDB574A1-9DED-484A-90F0-5CF48BDAD79F}" dt="2024-07-15T16:23:49.789" v="4883" actId="1076"/>
          <ac:picMkLst>
            <pc:docMk/>
            <pc:sldMk cId="2583879515" sldId="10564"/>
            <ac:picMk id="7" creationId="{D290A5A8-1AAC-D9CB-F7F3-CF0EC9DDA990}"/>
          </ac:picMkLst>
        </pc:picChg>
        <pc:picChg chg="add mod">
          <ac:chgData name="Damian Wilson" userId="a748594b-e068-40fa-9c53-2d22039a2a82" providerId="ADAL" clId="{EDB574A1-9DED-484A-90F0-5CF48BDAD79F}" dt="2024-07-15T16:24:49.302" v="4919" actId="1036"/>
          <ac:picMkLst>
            <pc:docMk/>
            <pc:sldMk cId="2583879515" sldId="10564"/>
            <ac:picMk id="9" creationId="{2508C1F5-1936-DBE0-FED0-ECE08E336CEB}"/>
          </ac:picMkLst>
        </pc:picChg>
        <pc:picChg chg="add mod">
          <ac:chgData name="Damian Wilson" userId="a748594b-e068-40fa-9c53-2d22039a2a82" providerId="ADAL" clId="{EDB574A1-9DED-484A-90F0-5CF48BDAD79F}" dt="2024-07-15T16:25:43.839" v="4947" actId="1035"/>
          <ac:picMkLst>
            <pc:docMk/>
            <pc:sldMk cId="2583879515" sldId="10564"/>
            <ac:picMk id="10" creationId="{DAB91618-306E-DE7E-D8F4-8073083509A5}"/>
          </ac:picMkLst>
        </pc:picChg>
        <pc:picChg chg="add mod">
          <ac:chgData name="Damian Wilson" userId="a748594b-e068-40fa-9c53-2d22039a2a82" providerId="ADAL" clId="{EDB574A1-9DED-484A-90F0-5CF48BDAD79F}" dt="2024-07-15T16:25:31.431" v="4922"/>
          <ac:picMkLst>
            <pc:docMk/>
            <pc:sldMk cId="2583879515" sldId="10564"/>
            <ac:picMk id="11" creationId="{51B7588F-AC9C-9F6E-B941-D9F326F57ECB}"/>
          </ac:picMkLst>
        </pc:picChg>
      </pc:sldChg>
      <pc:sldChg chg="modSp new del mod">
        <pc:chgData name="Damian Wilson" userId="a748594b-e068-40fa-9c53-2d22039a2a82" providerId="ADAL" clId="{EDB574A1-9DED-484A-90F0-5CF48BDAD79F}" dt="2024-07-15T11:47:31.896" v="4644" actId="2696"/>
        <pc:sldMkLst>
          <pc:docMk/>
          <pc:sldMk cId="4087380387" sldId="10565"/>
        </pc:sldMkLst>
        <pc:spChg chg="mod">
          <ac:chgData name="Damian Wilson" userId="a748594b-e068-40fa-9c53-2d22039a2a82" providerId="ADAL" clId="{EDB574A1-9DED-484A-90F0-5CF48BDAD79F}" dt="2024-07-15T11:46:13.938" v="4617" actId="14100"/>
          <ac:spMkLst>
            <pc:docMk/>
            <pc:sldMk cId="4087380387" sldId="10565"/>
            <ac:spMk id="2" creationId="{54AB876B-BB09-41A1-32F7-1822A02B0C07}"/>
          </ac:spMkLst>
        </pc:spChg>
        <pc:spChg chg="mod">
          <ac:chgData name="Damian Wilson" userId="a748594b-e068-40fa-9c53-2d22039a2a82" providerId="ADAL" clId="{EDB574A1-9DED-484A-90F0-5CF48BDAD79F}" dt="2024-07-15T11:43:42.691" v="4458" actId="20577"/>
          <ac:spMkLst>
            <pc:docMk/>
            <pc:sldMk cId="4087380387" sldId="10565"/>
            <ac:spMk id="3" creationId="{16DA70CB-25E0-7355-FDDD-AADDB6261770}"/>
          </ac:spMkLst>
        </pc:spChg>
      </pc:sldChg>
      <pc:sldChg chg="addSp delSp modSp new mod">
        <pc:chgData name="Damian Wilson" userId="a748594b-e068-40fa-9c53-2d22039a2a82" providerId="ADAL" clId="{EDB574A1-9DED-484A-90F0-5CF48BDAD79F}" dt="2024-07-17T11:03:54.346" v="9954" actId="962"/>
        <pc:sldMkLst>
          <pc:docMk/>
          <pc:sldMk cId="3479330894" sldId="10566"/>
        </pc:sldMkLst>
        <pc:spChg chg="mod">
          <ac:chgData name="Damian Wilson" userId="a748594b-e068-40fa-9c53-2d22039a2a82" providerId="ADAL" clId="{EDB574A1-9DED-484A-90F0-5CF48BDAD79F}" dt="2024-07-15T11:46:55.577" v="4619"/>
          <ac:spMkLst>
            <pc:docMk/>
            <pc:sldMk cId="3479330894" sldId="10566"/>
            <ac:spMk id="2" creationId="{4FFC612A-6783-F954-5CF3-ADEAA73CE8D1}"/>
          </ac:spMkLst>
        </pc:spChg>
        <pc:spChg chg="mod">
          <ac:chgData name="Damian Wilson" userId="a748594b-e068-40fa-9c53-2d22039a2a82" providerId="ADAL" clId="{EDB574A1-9DED-484A-90F0-5CF48BDAD79F}" dt="2024-07-16T17:15:53.993" v="6073" actId="1038"/>
          <ac:spMkLst>
            <pc:docMk/>
            <pc:sldMk cId="3479330894" sldId="10566"/>
            <ac:spMk id="3" creationId="{744EB3BE-1A89-642A-8895-433B09B49A7E}"/>
          </ac:spMkLst>
        </pc:spChg>
        <pc:picChg chg="add mod ord">
          <ac:chgData name="Damian Wilson" userId="a748594b-e068-40fa-9c53-2d22039a2a82" providerId="ADAL" clId="{EDB574A1-9DED-484A-90F0-5CF48BDAD79F}" dt="2024-07-17T11:03:54.346" v="9954" actId="962"/>
          <ac:picMkLst>
            <pc:docMk/>
            <pc:sldMk cId="3479330894" sldId="10566"/>
            <ac:picMk id="4" creationId="{3F0E876C-A2FD-999C-8982-D40A7877B8ED}"/>
          </ac:picMkLst>
        </pc:picChg>
        <pc:picChg chg="add del mod">
          <ac:chgData name="Damian Wilson" userId="a748594b-e068-40fa-9c53-2d22039a2a82" providerId="ADAL" clId="{EDB574A1-9DED-484A-90F0-5CF48BDAD79F}" dt="2024-07-16T17:15:17.974" v="6054" actId="478"/>
          <ac:picMkLst>
            <pc:docMk/>
            <pc:sldMk cId="3479330894" sldId="10566"/>
            <ac:picMk id="5" creationId="{1CFAAE88-D592-7549-682D-BBED67CF9307}"/>
          </ac:picMkLst>
        </pc:picChg>
        <pc:picChg chg="add mod">
          <ac:chgData name="Damian Wilson" userId="a748594b-e068-40fa-9c53-2d22039a2a82" providerId="ADAL" clId="{EDB574A1-9DED-484A-90F0-5CF48BDAD79F}" dt="2024-07-17T10:49:48.609" v="8640" actId="962"/>
          <ac:picMkLst>
            <pc:docMk/>
            <pc:sldMk cId="3479330894" sldId="10566"/>
            <ac:picMk id="6" creationId="{6AF6257D-0405-2CB6-CDC6-B671FD19E9F3}"/>
          </ac:picMkLst>
        </pc:picChg>
      </pc:sldChg>
      <pc:sldChg chg="addSp delSp modSp new del mod">
        <pc:chgData name="Damian Wilson" userId="a748594b-e068-40fa-9c53-2d22039a2a82" providerId="ADAL" clId="{EDB574A1-9DED-484A-90F0-5CF48BDAD79F}" dt="2024-07-16T17:11:57.694" v="6018" actId="2696"/>
        <pc:sldMkLst>
          <pc:docMk/>
          <pc:sldMk cId="1911071853" sldId="10567"/>
        </pc:sldMkLst>
        <pc:spChg chg="mod">
          <ac:chgData name="Damian Wilson" userId="a748594b-e068-40fa-9c53-2d22039a2a82" providerId="ADAL" clId="{EDB574A1-9DED-484A-90F0-5CF48BDAD79F}" dt="2024-07-16T16:30:59.505" v="5679" actId="27636"/>
          <ac:spMkLst>
            <pc:docMk/>
            <pc:sldMk cId="1911071853" sldId="10567"/>
            <ac:spMk id="2" creationId="{41D49244-F137-CA0C-B1F9-1DBDDCC8F169}"/>
          </ac:spMkLst>
        </pc:spChg>
        <pc:spChg chg="mod">
          <ac:chgData name="Damian Wilson" userId="a748594b-e068-40fa-9c53-2d22039a2a82" providerId="ADAL" clId="{EDB574A1-9DED-484A-90F0-5CF48BDAD79F}" dt="2024-07-16T16:21:49.473" v="5158" actId="20577"/>
          <ac:spMkLst>
            <pc:docMk/>
            <pc:sldMk cId="1911071853" sldId="10567"/>
            <ac:spMk id="3" creationId="{587DBB5A-2282-A8A7-FE68-C59346EB19D9}"/>
          </ac:spMkLst>
        </pc:spChg>
        <pc:spChg chg="add mod">
          <ac:chgData name="Damian Wilson" userId="a748594b-e068-40fa-9c53-2d22039a2a82" providerId="ADAL" clId="{EDB574A1-9DED-484A-90F0-5CF48BDAD79F}" dt="2024-07-16T16:32:57.383" v="5692" actId="14100"/>
          <ac:spMkLst>
            <pc:docMk/>
            <pc:sldMk cId="1911071853" sldId="10567"/>
            <ac:spMk id="4" creationId="{B0BB059A-F77D-A832-CD21-FF55C1247AE4}"/>
          </ac:spMkLst>
        </pc:spChg>
        <pc:picChg chg="add mod">
          <ac:chgData name="Damian Wilson" userId="a748594b-e068-40fa-9c53-2d22039a2a82" providerId="ADAL" clId="{EDB574A1-9DED-484A-90F0-5CF48BDAD79F}" dt="2024-07-16T16:33:05.444" v="5693" actId="1076"/>
          <ac:picMkLst>
            <pc:docMk/>
            <pc:sldMk cId="1911071853" sldId="10567"/>
            <ac:picMk id="1026" creationId="{60E28014-2C47-F48B-515D-5196BDB73115}"/>
          </ac:picMkLst>
        </pc:picChg>
        <pc:picChg chg="add mod">
          <ac:chgData name="Damian Wilson" userId="a748594b-e068-40fa-9c53-2d22039a2a82" providerId="ADAL" clId="{EDB574A1-9DED-484A-90F0-5CF48BDAD79F}" dt="2024-07-16T16:31:13.741" v="5681" actId="1076"/>
          <ac:picMkLst>
            <pc:docMk/>
            <pc:sldMk cId="1911071853" sldId="10567"/>
            <ac:picMk id="1028" creationId="{7EABAFA6-8A4A-A860-E6DA-0666B7C58408}"/>
          </ac:picMkLst>
        </pc:picChg>
        <pc:picChg chg="add mod">
          <ac:chgData name="Damian Wilson" userId="a748594b-e068-40fa-9c53-2d22039a2a82" providerId="ADAL" clId="{EDB574A1-9DED-484A-90F0-5CF48BDAD79F}" dt="2024-07-16T16:31:22.739" v="5684" actId="1076"/>
          <ac:picMkLst>
            <pc:docMk/>
            <pc:sldMk cId="1911071853" sldId="10567"/>
            <ac:picMk id="1030" creationId="{2947E998-4452-2FD6-BD00-247915874EB8}"/>
          </ac:picMkLst>
        </pc:picChg>
        <pc:picChg chg="add del mod">
          <ac:chgData name="Damian Wilson" userId="a748594b-e068-40fa-9c53-2d22039a2a82" providerId="ADAL" clId="{EDB574A1-9DED-484A-90F0-5CF48BDAD79F}" dt="2024-07-16T16:29:56.195" v="5642" actId="478"/>
          <ac:picMkLst>
            <pc:docMk/>
            <pc:sldMk cId="1911071853" sldId="10567"/>
            <ac:picMk id="1032" creationId="{A801E470-9D02-2D9A-33F9-25F4D7AC32E2}"/>
          </ac:picMkLst>
        </pc:picChg>
        <pc:picChg chg="add mod">
          <ac:chgData name="Damian Wilson" userId="a748594b-e068-40fa-9c53-2d22039a2a82" providerId="ADAL" clId="{EDB574A1-9DED-484A-90F0-5CF48BDAD79F}" dt="2024-07-16T16:31:26.604" v="5686" actId="1076"/>
          <ac:picMkLst>
            <pc:docMk/>
            <pc:sldMk cId="1911071853" sldId="10567"/>
            <ac:picMk id="1034" creationId="{B0D4EC93-DE75-5E2E-B9BF-BE86ECD6CFD9}"/>
          </ac:picMkLst>
        </pc:picChg>
      </pc:sldChg>
      <pc:sldChg chg="addSp delSp modSp new mod modNotesTx">
        <pc:chgData name="Damian Wilson" userId="a748594b-e068-40fa-9c53-2d22039a2a82" providerId="ADAL" clId="{EDB574A1-9DED-484A-90F0-5CF48BDAD79F}" dt="2024-07-17T11:03:10.834" v="9950" actId="962"/>
        <pc:sldMkLst>
          <pc:docMk/>
          <pc:sldMk cId="958478338" sldId="10568"/>
        </pc:sldMkLst>
        <pc:spChg chg="del">
          <ac:chgData name="Damian Wilson" userId="a748594b-e068-40fa-9c53-2d22039a2a82" providerId="ADAL" clId="{EDB574A1-9DED-484A-90F0-5CF48BDAD79F}" dt="2024-07-16T16:54:11.429" v="5818" actId="478"/>
          <ac:spMkLst>
            <pc:docMk/>
            <pc:sldMk cId="958478338" sldId="10568"/>
            <ac:spMk id="2" creationId="{84316002-AD27-D3AC-C8C5-764002266DC1}"/>
          </ac:spMkLst>
        </pc:spChg>
        <pc:spChg chg="del">
          <ac:chgData name="Damian Wilson" userId="a748594b-e068-40fa-9c53-2d22039a2a82" providerId="ADAL" clId="{EDB574A1-9DED-484A-90F0-5CF48BDAD79F}" dt="2024-07-16T16:54:13.083" v="5819" actId="478"/>
          <ac:spMkLst>
            <pc:docMk/>
            <pc:sldMk cId="958478338" sldId="10568"/>
            <ac:spMk id="3" creationId="{F85C3B6F-8BB3-9204-256B-1E1C246A96D5}"/>
          </ac:spMkLst>
        </pc:spChg>
        <pc:spChg chg="add mod">
          <ac:chgData name="Damian Wilson" userId="a748594b-e068-40fa-9c53-2d22039a2a82" providerId="ADAL" clId="{EDB574A1-9DED-484A-90F0-5CF48BDAD79F}" dt="2024-07-16T16:56:06.249" v="5839" actId="1038"/>
          <ac:spMkLst>
            <pc:docMk/>
            <pc:sldMk cId="958478338" sldId="10568"/>
            <ac:spMk id="4" creationId="{53A7CB20-290B-AD51-BC67-6232952CBF18}"/>
          </ac:spMkLst>
        </pc:spChg>
        <pc:spChg chg="add mod">
          <ac:chgData name="Damian Wilson" userId="a748594b-e068-40fa-9c53-2d22039a2a82" providerId="ADAL" clId="{EDB574A1-9DED-484A-90F0-5CF48BDAD79F}" dt="2024-07-16T16:57:46.087" v="5857" actId="20577"/>
          <ac:spMkLst>
            <pc:docMk/>
            <pc:sldMk cId="958478338" sldId="10568"/>
            <ac:spMk id="6" creationId="{3BAC25B6-C844-2296-3ACE-23C4E738353E}"/>
          </ac:spMkLst>
        </pc:spChg>
        <pc:spChg chg="add mod">
          <ac:chgData name="Damian Wilson" userId="a748594b-e068-40fa-9c53-2d22039a2a82" providerId="ADAL" clId="{EDB574A1-9DED-484A-90F0-5CF48BDAD79F}" dt="2024-07-17T11:03:10.834" v="9950" actId="962"/>
          <ac:spMkLst>
            <pc:docMk/>
            <pc:sldMk cId="958478338" sldId="10568"/>
            <ac:spMk id="8" creationId="{847E16EF-2ABE-17E1-1D06-5EDB4CAF8C66}"/>
          </ac:spMkLst>
        </pc:spChg>
        <pc:picChg chg="add mod">
          <ac:chgData name="Damian Wilson" userId="a748594b-e068-40fa-9c53-2d22039a2a82" providerId="ADAL" clId="{EDB574A1-9DED-484A-90F0-5CF48BDAD79F}" dt="2024-07-17T11:03:03.617" v="9948" actId="962"/>
          <ac:picMkLst>
            <pc:docMk/>
            <pc:sldMk cId="958478338" sldId="10568"/>
            <ac:picMk id="5" creationId="{3D7429CD-61BE-B032-194B-2F2B7C92594A}"/>
          </ac:picMkLst>
        </pc:picChg>
        <pc:picChg chg="add mod">
          <ac:chgData name="Damian Wilson" userId="a748594b-e068-40fa-9c53-2d22039a2a82" providerId="ADAL" clId="{EDB574A1-9DED-484A-90F0-5CF48BDAD79F}" dt="2024-07-16T17:29:32.757" v="6216" actId="962"/>
          <ac:picMkLst>
            <pc:docMk/>
            <pc:sldMk cId="958478338" sldId="10568"/>
            <ac:picMk id="7" creationId="{8DEE001F-8626-A0CF-5382-A66B9AB06251}"/>
          </ac:picMkLst>
        </pc:picChg>
        <pc:picChg chg="add mod">
          <ac:chgData name="Damian Wilson" userId="a748594b-e068-40fa-9c53-2d22039a2a82" providerId="ADAL" clId="{EDB574A1-9DED-484A-90F0-5CF48BDAD79F}" dt="2024-07-17T11:03:04.760" v="9949" actId="962"/>
          <ac:picMkLst>
            <pc:docMk/>
            <pc:sldMk cId="958478338" sldId="10568"/>
            <ac:picMk id="9" creationId="{967DBDE3-992B-2F3C-954F-4F021B3DC492}"/>
          </ac:picMkLst>
        </pc:picChg>
      </pc:sldChg>
      <pc:sldChg chg="addSp delSp modSp new mod">
        <pc:chgData name="Damian Wilson" userId="a748594b-e068-40fa-9c53-2d22039a2a82" providerId="ADAL" clId="{EDB574A1-9DED-484A-90F0-5CF48BDAD79F}" dt="2024-07-17T11:08:39.822" v="10067" actId="13244"/>
        <pc:sldMkLst>
          <pc:docMk/>
          <pc:sldMk cId="683463008" sldId="10569"/>
        </pc:sldMkLst>
        <pc:spChg chg="add mod ord">
          <ac:chgData name="Damian Wilson" userId="a748594b-e068-40fa-9c53-2d22039a2a82" providerId="ADAL" clId="{EDB574A1-9DED-484A-90F0-5CF48BDAD79F}" dt="2024-07-17T11:08:39.822" v="10067" actId="13244"/>
          <ac:spMkLst>
            <pc:docMk/>
            <pc:sldMk cId="683463008" sldId="10569"/>
            <ac:spMk id="2" creationId="{3366B2E5-209E-43C5-5377-8CFB496BD620}"/>
          </ac:spMkLst>
        </pc:spChg>
        <pc:spChg chg="del">
          <ac:chgData name="Damian Wilson" userId="a748594b-e068-40fa-9c53-2d22039a2a82" providerId="ADAL" clId="{EDB574A1-9DED-484A-90F0-5CF48BDAD79F}" dt="2024-07-16T16:58:28.552" v="5874" actId="478"/>
          <ac:spMkLst>
            <pc:docMk/>
            <pc:sldMk cId="683463008" sldId="10569"/>
            <ac:spMk id="2" creationId="{B71A51DC-8827-3B19-DDCE-1A0C0B5C241A}"/>
          </ac:spMkLst>
        </pc:spChg>
        <pc:spChg chg="del">
          <ac:chgData name="Damian Wilson" userId="a748594b-e068-40fa-9c53-2d22039a2a82" providerId="ADAL" clId="{EDB574A1-9DED-484A-90F0-5CF48BDAD79F}" dt="2024-07-16T16:58:29.826" v="5875" actId="478"/>
          <ac:spMkLst>
            <pc:docMk/>
            <pc:sldMk cId="683463008" sldId="10569"/>
            <ac:spMk id="3" creationId="{784A8D96-CCEF-19AE-5EFC-BB5B1580F69C}"/>
          </ac:spMkLst>
        </pc:spChg>
        <pc:spChg chg="add del mod">
          <ac:chgData name="Damian Wilson" userId="a748594b-e068-40fa-9c53-2d22039a2a82" providerId="ADAL" clId="{EDB574A1-9DED-484A-90F0-5CF48BDAD79F}" dt="2024-07-17T11:08:17.353" v="10065" actId="478"/>
          <ac:spMkLst>
            <pc:docMk/>
            <pc:sldMk cId="683463008" sldId="10569"/>
            <ac:spMk id="8" creationId="{987BFA51-75E8-2128-65B7-09B977D53FCA}"/>
          </ac:spMkLst>
        </pc:spChg>
        <pc:spChg chg="add mod ord">
          <ac:chgData name="Damian Wilson" userId="a748594b-e068-40fa-9c53-2d22039a2a82" providerId="ADAL" clId="{EDB574A1-9DED-484A-90F0-5CF48BDAD79F}" dt="2024-07-17T10:58:43.394" v="9911" actId="13244"/>
          <ac:spMkLst>
            <pc:docMk/>
            <pc:sldMk cId="683463008" sldId="10569"/>
            <ac:spMk id="9" creationId="{856EC921-3045-FF39-F32D-F207F76C3ED7}"/>
          </ac:spMkLst>
        </pc:spChg>
        <pc:spChg chg="add mod">
          <ac:chgData name="Damian Wilson" userId="a748594b-e068-40fa-9c53-2d22039a2a82" providerId="ADAL" clId="{EDB574A1-9DED-484A-90F0-5CF48BDAD79F}" dt="2024-07-16T17:13:49.992" v="6046" actId="255"/>
          <ac:spMkLst>
            <pc:docMk/>
            <pc:sldMk cId="683463008" sldId="10569"/>
            <ac:spMk id="10" creationId="{749EE314-3BCF-2A07-08A2-8058C50B906A}"/>
          </ac:spMkLst>
        </pc:spChg>
        <pc:spChg chg="add mod">
          <ac:chgData name="Damian Wilson" userId="a748594b-e068-40fa-9c53-2d22039a2a82" providerId="ADAL" clId="{EDB574A1-9DED-484A-90F0-5CF48BDAD79F}" dt="2024-07-16T17:14:07.679" v="6050" actId="14100"/>
          <ac:spMkLst>
            <pc:docMk/>
            <pc:sldMk cId="683463008" sldId="10569"/>
            <ac:spMk id="11" creationId="{FDC57121-ED88-5417-560D-6530F6457F35}"/>
          </ac:spMkLst>
        </pc:spChg>
        <pc:spChg chg="add mod ord">
          <ac:chgData name="Damian Wilson" userId="a748594b-e068-40fa-9c53-2d22039a2a82" providerId="ADAL" clId="{EDB574A1-9DED-484A-90F0-5CF48BDAD79F}" dt="2024-07-17T10:58:02.727" v="9908" actId="13244"/>
          <ac:spMkLst>
            <pc:docMk/>
            <pc:sldMk cId="683463008" sldId="10569"/>
            <ac:spMk id="13" creationId="{01D8AD68-C8EB-27BC-F948-A87689488514}"/>
          </ac:spMkLst>
        </pc:spChg>
        <pc:picChg chg="add mod ord">
          <ac:chgData name="Damian Wilson" userId="a748594b-e068-40fa-9c53-2d22039a2a82" providerId="ADAL" clId="{EDB574A1-9DED-484A-90F0-5CF48BDAD79F}" dt="2024-07-17T10:59:16.414" v="9917" actId="962"/>
          <ac:picMkLst>
            <pc:docMk/>
            <pc:sldMk cId="683463008" sldId="10569"/>
            <ac:picMk id="4" creationId="{9EE9B190-B7CD-5E71-E30B-CA30B56F1F0A}"/>
          </ac:picMkLst>
        </pc:picChg>
        <pc:picChg chg="add mod ord">
          <ac:chgData name="Damian Wilson" userId="a748594b-e068-40fa-9c53-2d22039a2a82" providerId="ADAL" clId="{EDB574A1-9DED-484A-90F0-5CF48BDAD79F}" dt="2024-07-17T10:59:14.981" v="9916" actId="962"/>
          <ac:picMkLst>
            <pc:docMk/>
            <pc:sldMk cId="683463008" sldId="10569"/>
            <ac:picMk id="5" creationId="{D2D60C52-4503-588F-3A18-A0D304C151A5}"/>
          </ac:picMkLst>
        </pc:picChg>
        <pc:picChg chg="add mod ord">
          <ac:chgData name="Damian Wilson" userId="a748594b-e068-40fa-9c53-2d22039a2a82" providerId="ADAL" clId="{EDB574A1-9DED-484A-90F0-5CF48BDAD79F}" dt="2024-07-17T10:59:21.094" v="9919" actId="962"/>
          <ac:picMkLst>
            <pc:docMk/>
            <pc:sldMk cId="683463008" sldId="10569"/>
            <ac:picMk id="6" creationId="{71BEE650-199B-30AB-D215-C6AA3DA456BB}"/>
          </ac:picMkLst>
        </pc:picChg>
        <pc:picChg chg="add mod ord">
          <ac:chgData name="Damian Wilson" userId="a748594b-e068-40fa-9c53-2d22039a2a82" providerId="ADAL" clId="{EDB574A1-9DED-484A-90F0-5CF48BDAD79F}" dt="2024-07-17T10:59:19.502" v="9918" actId="962"/>
          <ac:picMkLst>
            <pc:docMk/>
            <pc:sldMk cId="683463008" sldId="10569"/>
            <ac:picMk id="7" creationId="{1086D079-8866-2631-30FA-D78014E63893}"/>
          </ac:picMkLst>
        </pc:picChg>
        <pc:picChg chg="add mod">
          <ac:chgData name="Damian Wilson" userId="a748594b-e068-40fa-9c53-2d22039a2a82" providerId="ADAL" clId="{EDB574A1-9DED-484A-90F0-5CF48BDAD79F}" dt="2024-07-17T10:58:11.395" v="9909" actId="962"/>
          <ac:picMkLst>
            <pc:docMk/>
            <pc:sldMk cId="683463008" sldId="10569"/>
            <ac:picMk id="12" creationId="{0F005CDA-A82D-6ACE-C0D1-17937BC51830}"/>
          </ac:picMkLst>
        </pc:picChg>
        <pc:picChg chg="add mod">
          <ac:chgData name="Damian Wilson" userId="a748594b-e068-40fa-9c53-2d22039a2a82" providerId="ADAL" clId="{EDB574A1-9DED-484A-90F0-5CF48BDAD79F}" dt="2024-07-17T10:58:11.845" v="9910" actId="962"/>
          <ac:picMkLst>
            <pc:docMk/>
            <pc:sldMk cId="683463008" sldId="10569"/>
            <ac:picMk id="14" creationId="{8D27A9F5-D9A3-A111-AC44-CFD506714458}"/>
          </ac:picMkLst>
        </pc:picChg>
      </pc:sldChg>
      <pc:sldChg chg="addSp delSp modSp new mod modNotesTx">
        <pc:chgData name="Damian Wilson" userId="a748594b-e068-40fa-9c53-2d22039a2a82" providerId="ADAL" clId="{EDB574A1-9DED-484A-90F0-5CF48BDAD79F}" dt="2024-07-17T11:00:05.008" v="9927" actId="962"/>
        <pc:sldMkLst>
          <pc:docMk/>
          <pc:sldMk cId="2633525137" sldId="10570"/>
        </pc:sldMkLst>
        <pc:spChg chg="del">
          <ac:chgData name="Damian Wilson" userId="a748594b-e068-40fa-9c53-2d22039a2a82" providerId="ADAL" clId="{EDB574A1-9DED-484A-90F0-5CF48BDAD79F}" dt="2024-07-16T17:00:03.468" v="5883" actId="478"/>
          <ac:spMkLst>
            <pc:docMk/>
            <pc:sldMk cId="2633525137" sldId="10570"/>
            <ac:spMk id="2" creationId="{769EEA34-4F47-6275-E4F0-6D3D221C5412}"/>
          </ac:spMkLst>
        </pc:spChg>
        <pc:spChg chg="del">
          <ac:chgData name="Damian Wilson" userId="a748594b-e068-40fa-9c53-2d22039a2a82" providerId="ADAL" clId="{EDB574A1-9DED-484A-90F0-5CF48BDAD79F}" dt="2024-07-16T17:00:01.874" v="5882" actId="478"/>
          <ac:spMkLst>
            <pc:docMk/>
            <pc:sldMk cId="2633525137" sldId="10570"/>
            <ac:spMk id="3" creationId="{223D032E-D58D-8258-7ADB-476290D152FD}"/>
          </ac:spMkLst>
        </pc:spChg>
        <pc:spChg chg="add mod">
          <ac:chgData name="Damian Wilson" userId="a748594b-e068-40fa-9c53-2d22039a2a82" providerId="ADAL" clId="{EDB574A1-9DED-484A-90F0-5CF48BDAD79F}" dt="2024-07-16T17:01:31.886" v="5910" actId="27636"/>
          <ac:spMkLst>
            <pc:docMk/>
            <pc:sldMk cId="2633525137" sldId="10570"/>
            <ac:spMk id="4" creationId="{00018398-4AEE-B657-6EE8-C192FD1800DB}"/>
          </ac:spMkLst>
        </pc:spChg>
        <pc:spChg chg="add del mod">
          <ac:chgData name="Damian Wilson" userId="a748594b-e068-40fa-9c53-2d22039a2a82" providerId="ADAL" clId="{EDB574A1-9DED-484A-90F0-5CF48BDAD79F}" dt="2024-07-16T17:01:11.615" v="5894" actId="478"/>
          <ac:spMkLst>
            <pc:docMk/>
            <pc:sldMk cId="2633525137" sldId="10570"/>
            <ac:spMk id="5" creationId="{900A2ABE-7054-CB94-9768-675F746DD1CA}"/>
          </ac:spMkLst>
        </pc:spChg>
        <pc:spChg chg="add mod ord">
          <ac:chgData name="Damian Wilson" userId="a748594b-e068-40fa-9c53-2d22039a2a82" providerId="ADAL" clId="{EDB574A1-9DED-484A-90F0-5CF48BDAD79F}" dt="2024-07-17T10:59:58.525" v="9924" actId="13244"/>
          <ac:spMkLst>
            <pc:docMk/>
            <pc:sldMk cId="2633525137" sldId="10570"/>
            <ac:spMk id="9" creationId="{CE4630DD-4C2F-ECCD-2F9F-39E072D1234F}"/>
          </ac:spMkLst>
        </pc:spChg>
        <pc:picChg chg="add mod">
          <ac:chgData name="Damian Wilson" userId="a748594b-e068-40fa-9c53-2d22039a2a82" providerId="ADAL" clId="{EDB574A1-9DED-484A-90F0-5CF48BDAD79F}" dt="2024-07-16T17:31:23.883" v="6792" actId="962"/>
          <ac:picMkLst>
            <pc:docMk/>
            <pc:sldMk cId="2633525137" sldId="10570"/>
            <ac:picMk id="6" creationId="{87B781D2-BEB4-C207-6039-861057CC4C9C}"/>
          </ac:picMkLst>
        </pc:picChg>
        <pc:picChg chg="add mod ord">
          <ac:chgData name="Damian Wilson" userId="a748594b-e068-40fa-9c53-2d22039a2a82" providerId="ADAL" clId="{EDB574A1-9DED-484A-90F0-5CF48BDAD79F}" dt="2024-07-17T11:00:05.008" v="9927" actId="962"/>
          <ac:picMkLst>
            <pc:docMk/>
            <pc:sldMk cId="2633525137" sldId="10570"/>
            <ac:picMk id="7" creationId="{0C4E6003-702A-F288-0785-9461060530C5}"/>
          </ac:picMkLst>
        </pc:picChg>
        <pc:picChg chg="add mod ord">
          <ac:chgData name="Damian Wilson" userId="a748594b-e068-40fa-9c53-2d22039a2a82" providerId="ADAL" clId="{EDB574A1-9DED-484A-90F0-5CF48BDAD79F}" dt="2024-07-17T11:00:03.798" v="9926" actId="962"/>
          <ac:picMkLst>
            <pc:docMk/>
            <pc:sldMk cId="2633525137" sldId="10570"/>
            <ac:picMk id="8" creationId="{E2053EE2-023E-E4A4-3D6D-CC631D26068D}"/>
          </ac:picMkLst>
        </pc:picChg>
      </pc:sldChg>
      <pc:sldChg chg="addSp delSp modSp new mod modNotesTx">
        <pc:chgData name="Damian Wilson" userId="a748594b-e068-40fa-9c53-2d22039a2a82" providerId="ADAL" clId="{EDB574A1-9DED-484A-90F0-5CF48BDAD79F}" dt="2024-07-17T11:00:28.800" v="9930" actId="962"/>
        <pc:sldMkLst>
          <pc:docMk/>
          <pc:sldMk cId="3549678513" sldId="10571"/>
        </pc:sldMkLst>
        <pc:spChg chg="del">
          <ac:chgData name="Damian Wilson" userId="a748594b-e068-40fa-9c53-2d22039a2a82" providerId="ADAL" clId="{EDB574A1-9DED-484A-90F0-5CF48BDAD79F}" dt="2024-07-16T17:03:03.669" v="5917" actId="478"/>
          <ac:spMkLst>
            <pc:docMk/>
            <pc:sldMk cId="3549678513" sldId="10571"/>
            <ac:spMk id="2" creationId="{097ECA0F-0063-0F7E-B77B-59E9E79A8237}"/>
          </ac:spMkLst>
        </pc:spChg>
        <pc:spChg chg="del">
          <ac:chgData name="Damian Wilson" userId="a748594b-e068-40fa-9c53-2d22039a2a82" providerId="ADAL" clId="{EDB574A1-9DED-484A-90F0-5CF48BDAD79F}" dt="2024-07-16T17:03:05.903" v="5918" actId="478"/>
          <ac:spMkLst>
            <pc:docMk/>
            <pc:sldMk cId="3549678513" sldId="10571"/>
            <ac:spMk id="3" creationId="{3EEAE2E7-0460-D80D-E0FD-AD9B7011BF7C}"/>
          </ac:spMkLst>
        </pc:spChg>
        <pc:spChg chg="add mod">
          <ac:chgData name="Damian Wilson" userId="a748594b-e068-40fa-9c53-2d22039a2a82" providerId="ADAL" clId="{EDB574A1-9DED-484A-90F0-5CF48BDAD79F}" dt="2024-07-16T17:04:49.092" v="5955" actId="14100"/>
          <ac:spMkLst>
            <pc:docMk/>
            <pc:sldMk cId="3549678513" sldId="10571"/>
            <ac:spMk id="5" creationId="{15467CF6-C675-798F-B054-E21CED4400A7}"/>
          </ac:spMkLst>
        </pc:spChg>
        <pc:spChg chg="add del mod">
          <ac:chgData name="Damian Wilson" userId="a748594b-e068-40fa-9c53-2d22039a2a82" providerId="ADAL" clId="{EDB574A1-9DED-484A-90F0-5CF48BDAD79F}" dt="2024-07-17T10:54:32.048" v="9681" actId="478"/>
          <ac:spMkLst>
            <pc:docMk/>
            <pc:sldMk cId="3549678513" sldId="10571"/>
            <ac:spMk id="6" creationId="{5D932C2D-7465-0753-9391-50B95B32DA74}"/>
          </ac:spMkLst>
        </pc:spChg>
        <pc:spChg chg="add mod ord">
          <ac:chgData name="Damian Wilson" userId="a748594b-e068-40fa-9c53-2d22039a2a82" providerId="ADAL" clId="{EDB574A1-9DED-484A-90F0-5CF48BDAD79F}" dt="2024-07-17T11:00:24.292" v="9928" actId="13244"/>
          <ac:spMkLst>
            <pc:docMk/>
            <pc:sldMk cId="3549678513" sldId="10571"/>
            <ac:spMk id="9" creationId="{553CE4BB-0F64-2ED1-DBA3-8B3E0F09B441}"/>
          </ac:spMkLst>
        </pc:spChg>
        <pc:picChg chg="add mod">
          <ac:chgData name="Damian Wilson" userId="a748594b-e068-40fa-9c53-2d22039a2a82" providerId="ADAL" clId="{EDB574A1-9DED-484A-90F0-5CF48BDAD79F}" dt="2024-07-17T11:00:26.338" v="9929" actId="962"/>
          <ac:picMkLst>
            <pc:docMk/>
            <pc:sldMk cId="3549678513" sldId="10571"/>
            <ac:picMk id="4" creationId="{63213115-0563-385E-A63A-66EB575F483D}"/>
          </ac:picMkLst>
        </pc:picChg>
        <pc:picChg chg="add mod">
          <ac:chgData name="Damian Wilson" userId="a748594b-e068-40fa-9c53-2d22039a2a82" providerId="ADAL" clId="{EDB574A1-9DED-484A-90F0-5CF48BDAD79F}" dt="2024-07-16T17:32:28.016" v="7254" actId="962"/>
          <ac:picMkLst>
            <pc:docMk/>
            <pc:sldMk cId="3549678513" sldId="10571"/>
            <ac:picMk id="7" creationId="{4AA35E1A-E867-D26B-C485-E48E5CD93ADA}"/>
          </ac:picMkLst>
        </pc:picChg>
        <pc:picChg chg="add mod">
          <ac:chgData name="Damian Wilson" userId="a748594b-e068-40fa-9c53-2d22039a2a82" providerId="ADAL" clId="{EDB574A1-9DED-484A-90F0-5CF48BDAD79F}" dt="2024-07-17T11:00:28.800" v="9930" actId="962"/>
          <ac:picMkLst>
            <pc:docMk/>
            <pc:sldMk cId="3549678513" sldId="10571"/>
            <ac:picMk id="8" creationId="{D0B9B5B6-4C60-0820-899A-05859358A2F4}"/>
          </ac:picMkLst>
        </pc:picChg>
      </pc:sldChg>
      <pc:sldChg chg="addSp delSp modSp new mod modNotesTx">
        <pc:chgData name="Damian Wilson" userId="a748594b-e068-40fa-9c53-2d22039a2a82" providerId="ADAL" clId="{EDB574A1-9DED-484A-90F0-5CF48BDAD79F}" dt="2024-07-17T11:00:37.374" v="9932" actId="962"/>
        <pc:sldMkLst>
          <pc:docMk/>
          <pc:sldMk cId="2440404710" sldId="10572"/>
        </pc:sldMkLst>
        <pc:spChg chg="del">
          <ac:chgData name="Damian Wilson" userId="a748594b-e068-40fa-9c53-2d22039a2a82" providerId="ADAL" clId="{EDB574A1-9DED-484A-90F0-5CF48BDAD79F}" dt="2024-07-16T17:05:54.390" v="5964" actId="478"/>
          <ac:spMkLst>
            <pc:docMk/>
            <pc:sldMk cId="2440404710" sldId="10572"/>
            <ac:spMk id="2" creationId="{A8F40E13-995D-EED2-2F59-ED6D61C4D80B}"/>
          </ac:spMkLst>
        </pc:spChg>
        <pc:spChg chg="del">
          <ac:chgData name="Damian Wilson" userId="a748594b-e068-40fa-9c53-2d22039a2a82" providerId="ADAL" clId="{EDB574A1-9DED-484A-90F0-5CF48BDAD79F}" dt="2024-07-16T17:05:56.050" v="5965" actId="478"/>
          <ac:spMkLst>
            <pc:docMk/>
            <pc:sldMk cId="2440404710" sldId="10572"/>
            <ac:spMk id="3" creationId="{52A80DEC-FD2E-D29A-A7BE-B05928048733}"/>
          </ac:spMkLst>
        </pc:spChg>
        <pc:spChg chg="add mod">
          <ac:chgData name="Damian Wilson" userId="a748594b-e068-40fa-9c53-2d22039a2a82" providerId="ADAL" clId="{EDB574A1-9DED-484A-90F0-5CF48BDAD79F}" dt="2024-07-16T17:05:51.788" v="5963"/>
          <ac:spMkLst>
            <pc:docMk/>
            <pc:sldMk cId="2440404710" sldId="10572"/>
            <ac:spMk id="5" creationId="{F3F663E8-31FB-45CF-2F17-A6740739EA11}"/>
          </ac:spMkLst>
        </pc:spChg>
        <pc:spChg chg="add del mod">
          <ac:chgData name="Damian Wilson" userId="a748594b-e068-40fa-9c53-2d22039a2a82" providerId="ADAL" clId="{EDB574A1-9DED-484A-90F0-5CF48BDAD79F}" dt="2024-07-16T17:07:31.821" v="5973" actId="478"/>
          <ac:spMkLst>
            <pc:docMk/>
            <pc:sldMk cId="2440404710" sldId="10572"/>
            <ac:spMk id="7" creationId="{45B40412-604A-03A1-7BB5-D83494CB2EC6}"/>
          </ac:spMkLst>
        </pc:spChg>
        <pc:spChg chg="add mod ord">
          <ac:chgData name="Damian Wilson" userId="a748594b-e068-40fa-9c53-2d22039a2a82" providerId="ADAL" clId="{EDB574A1-9DED-484A-90F0-5CF48BDAD79F}" dt="2024-07-17T11:00:36.126" v="9931" actId="13244"/>
          <ac:spMkLst>
            <pc:docMk/>
            <pc:sldMk cId="2440404710" sldId="10572"/>
            <ac:spMk id="9" creationId="{DA1FBF74-91BC-D2ED-866C-AFE26652AEE8}"/>
          </ac:spMkLst>
        </pc:spChg>
        <pc:picChg chg="add mod">
          <ac:chgData name="Damian Wilson" userId="a748594b-e068-40fa-9c53-2d22039a2a82" providerId="ADAL" clId="{EDB574A1-9DED-484A-90F0-5CF48BDAD79F}" dt="2024-07-17T11:00:37.374" v="9932" actId="962"/>
          <ac:picMkLst>
            <pc:docMk/>
            <pc:sldMk cId="2440404710" sldId="10572"/>
            <ac:picMk id="4" creationId="{5743CDBF-7B26-F5B8-21AD-1893243D84E2}"/>
          </ac:picMkLst>
        </pc:picChg>
        <pc:picChg chg="add mod">
          <ac:chgData name="Damian Wilson" userId="a748594b-e068-40fa-9c53-2d22039a2a82" providerId="ADAL" clId="{EDB574A1-9DED-484A-90F0-5CF48BDAD79F}" dt="2024-07-16T17:05:49.416" v="5960"/>
          <ac:picMkLst>
            <pc:docMk/>
            <pc:sldMk cId="2440404710" sldId="10572"/>
            <ac:picMk id="6" creationId="{AAF216A4-84C7-C58E-34DE-E3819D8F196A}"/>
          </ac:picMkLst>
        </pc:picChg>
        <pc:picChg chg="add mod">
          <ac:chgData name="Damian Wilson" userId="a748594b-e068-40fa-9c53-2d22039a2a82" providerId="ADAL" clId="{EDB574A1-9DED-484A-90F0-5CF48BDAD79F}" dt="2024-07-16T17:33:10.813" v="7464" actId="962"/>
          <ac:picMkLst>
            <pc:docMk/>
            <pc:sldMk cId="2440404710" sldId="10572"/>
            <ac:picMk id="8" creationId="{43DA2E83-81DE-732E-A45D-95AA65770D48}"/>
          </ac:picMkLst>
        </pc:picChg>
      </pc:sldChg>
      <pc:sldChg chg="addSp delSp modSp new mod">
        <pc:chgData name="Damian Wilson" userId="a748594b-e068-40fa-9c53-2d22039a2a82" providerId="ADAL" clId="{EDB574A1-9DED-484A-90F0-5CF48BDAD79F}" dt="2024-07-17T11:05:35.803" v="10020" actId="962"/>
        <pc:sldMkLst>
          <pc:docMk/>
          <pc:sldMk cId="1758866931" sldId="10573"/>
        </pc:sldMkLst>
        <pc:spChg chg="del">
          <ac:chgData name="Damian Wilson" userId="a748594b-e068-40fa-9c53-2d22039a2a82" providerId="ADAL" clId="{EDB574A1-9DED-484A-90F0-5CF48BDAD79F}" dt="2024-07-16T17:08:58.783" v="5978" actId="478"/>
          <ac:spMkLst>
            <pc:docMk/>
            <pc:sldMk cId="1758866931" sldId="10573"/>
            <ac:spMk id="2" creationId="{20184597-2C17-E3DB-5808-DAD1FAF0C7B1}"/>
          </ac:spMkLst>
        </pc:spChg>
        <pc:spChg chg="del">
          <ac:chgData name="Damian Wilson" userId="a748594b-e068-40fa-9c53-2d22039a2a82" providerId="ADAL" clId="{EDB574A1-9DED-484A-90F0-5CF48BDAD79F}" dt="2024-07-16T17:09:06.695" v="5979" actId="478"/>
          <ac:spMkLst>
            <pc:docMk/>
            <pc:sldMk cId="1758866931" sldId="10573"/>
            <ac:spMk id="3" creationId="{5D3E788B-D592-D0A6-65B5-A5DFFB7D648F}"/>
          </ac:spMkLst>
        </pc:spChg>
        <pc:spChg chg="add mod">
          <ac:chgData name="Damian Wilson" userId="a748594b-e068-40fa-9c53-2d22039a2a82" providerId="ADAL" clId="{EDB574A1-9DED-484A-90F0-5CF48BDAD79F}" dt="2024-07-16T17:10:44.025" v="6004" actId="27636"/>
          <ac:spMkLst>
            <pc:docMk/>
            <pc:sldMk cId="1758866931" sldId="10573"/>
            <ac:spMk id="5" creationId="{0AE51C5E-C947-5935-7113-32606B16D4A5}"/>
          </ac:spMkLst>
        </pc:spChg>
        <pc:spChg chg="add del mod">
          <ac:chgData name="Damian Wilson" userId="a748594b-e068-40fa-9c53-2d22039a2a82" providerId="ADAL" clId="{EDB574A1-9DED-484A-90F0-5CF48BDAD79F}" dt="2024-07-16T17:10:23.283" v="5987" actId="478"/>
          <ac:spMkLst>
            <pc:docMk/>
            <pc:sldMk cId="1758866931" sldId="10573"/>
            <ac:spMk id="6" creationId="{75E45742-11E4-7E5F-2DB9-A7E84D2E092B}"/>
          </ac:spMkLst>
        </pc:spChg>
        <pc:spChg chg="add mod ord">
          <ac:chgData name="Damian Wilson" userId="a748594b-e068-40fa-9c53-2d22039a2a82" providerId="ADAL" clId="{EDB574A1-9DED-484A-90F0-5CF48BDAD79F}" dt="2024-07-17T11:01:28.283" v="9937" actId="13244"/>
          <ac:spMkLst>
            <pc:docMk/>
            <pc:sldMk cId="1758866931" sldId="10573"/>
            <ac:spMk id="11" creationId="{78CF39FD-2A10-E5C9-DADC-F5D538C4C9F3}"/>
          </ac:spMkLst>
        </pc:spChg>
        <pc:spChg chg="add mod ord">
          <ac:chgData name="Damian Wilson" userId="a748594b-e068-40fa-9c53-2d22039a2a82" providerId="ADAL" clId="{EDB574A1-9DED-484A-90F0-5CF48BDAD79F}" dt="2024-07-17T11:02:33.584" v="9947" actId="13244"/>
          <ac:spMkLst>
            <pc:docMk/>
            <pc:sldMk cId="1758866931" sldId="10573"/>
            <ac:spMk id="12" creationId="{1890142B-3A90-1525-610E-D9D47764D43A}"/>
          </ac:spMkLst>
        </pc:spChg>
        <pc:picChg chg="add mod">
          <ac:chgData name="Damian Wilson" userId="a748594b-e068-40fa-9c53-2d22039a2a82" providerId="ADAL" clId="{EDB574A1-9DED-484A-90F0-5CF48BDAD79F}" dt="2024-07-17T11:00:48.589" v="9934" actId="962"/>
          <ac:picMkLst>
            <pc:docMk/>
            <pc:sldMk cId="1758866931" sldId="10573"/>
            <ac:picMk id="4" creationId="{2BC1DD3C-F65B-834A-885D-04164245C362}"/>
          </ac:picMkLst>
        </pc:picChg>
        <pc:picChg chg="add mod">
          <ac:chgData name="Damian Wilson" userId="a748594b-e068-40fa-9c53-2d22039a2a82" providerId="ADAL" clId="{EDB574A1-9DED-484A-90F0-5CF48BDAD79F}" dt="2024-07-17T10:46:55.416" v="7578" actId="962"/>
          <ac:picMkLst>
            <pc:docMk/>
            <pc:sldMk cId="1758866931" sldId="10573"/>
            <ac:picMk id="7" creationId="{A1245304-CAB4-1448-D90A-4A9731CD44E2}"/>
          </ac:picMkLst>
        </pc:picChg>
        <pc:picChg chg="add mod">
          <ac:chgData name="Damian Wilson" userId="a748594b-e068-40fa-9c53-2d22039a2a82" providerId="ADAL" clId="{EDB574A1-9DED-484A-90F0-5CF48BDAD79F}" dt="2024-07-17T11:05:35.803" v="10020" actId="962"/>
          <ac:picMkLst>
            <pc:docMk/>
            <pc:sldMk cId="1758866931" sldId="10573"/>
            <ac:picMk id="8" creationId="{C008E1F5-80CB-E312-9CC4-3D40F63B33E7}"/>
          </ac:picMkLst>
        </pc:picChg>
        <pc:picChg chg="add mod">
          <ac:chgData name="Damian Wilson" userId="a748594b-e068-40fa-9c53-2d22039a2a82" providerId="ADAL" clId="{EDB574A1-9DED-484A-90F0-5CF48BDAD79F}" dt="2024-07-17T11:01:12.052" v="9936" actId="13244"/>
          <ac:picMkLst>
            <pc:docMk/>
            <pc:sldMk cId="1758866931" sldId="10573"/>
            <ac:picMk id="9" creationId="{CD5C2153-BA6D-6DFF-365C-B35900D6F29C}"/>
          </ac:picMkLst>
        </pc:picChg>
        <pc:picChg chg="add mod">
          <ac:chgData name="Damian Wilson" userId="a748594b-e068-40fa-9c53-2d22039a2a82" providerId="ADAL" clId="{EDB574A1-9DED-484A-90F0-5CF48BDAD79F}" dt="2024-07-17T10:48:34.964" v="8156" actId="962"/>
          <ac:picMkLst>
            <pc:docMk/>
            <pc:sldMk cId="1758866931" sldId="10573"/>
            <ac:picMk id="10" creationId="{3501C094-5470-31EA-017F-43D3AD8BEE51}"/>
          </ac:picMkLst>
        </pc:picChg>
        <pc:picChg chg="add mod">
          <ac:chgData name="Damian Wilson" userId="a748594b-e068-40fa-9c53-2d22039a2a82" providerId="ADAL" clId="{EDB574A1-9DED-484A-90F0-5CF48BDAD79F}" dt="2024-07-17T11:00:49.913" v="9935" actId="962"/>
          <ac:picMkLst>
            <pc:docMk/>
            <pc:sldMk cId="1758866931" sldId="10573"/>
            <ac:picMk id="13" creationId="{2AA24B29-6A93-DDD5-8D19-4A0731A97FE9}"/>
          </ac:picMkLst>
        </pc:picChg>
      </pc:sldChg>
      <pc:sldChg chg="addSp delSp modSp new mod modAnim">
        <pc:chgData name="Damian Wilson" userId="a748594b-e068-40fa-9c53-2d22039a2a82" providerId="ADAL" clId="{EDB574A1-9DED-484A-90F0-5CF48BDAD79F}" dt="2024-07-17T11:10:33.030" v="10070"/>
        <pc:sldMkLst>
          <pc:docMk/>
          <pc:sldMk cId="3707397959" sldId="10574"/>
        </pc:sldMkLst>
        <pc:spChg chg="del">
          <ac:chgData name="Damian Wilson" userId="a748594b-e068-40fa-9c53-2d22039a2a82" providerId="ADAL" clId="{EDB574A1-9DED-484A-90F0-5CF48BDAD79F}" dt="2024-07-16T17:12:17.425" v="6021" actId="478"/>
          <ac:spMkLst>
            <pc:docMk/>
            <pc:sldMk cId="3707397959" sldId="10574"/>
            <ac:spMk id="2" creationId="{47E9F478-AB07-AC26-7E1F-329A3ACC19C8}"/>
          </ac:spMkLst>
        </pc:spChg>
        <pc:spChg chg="del">
          <ac:chgData name="Damian Wilson" userId="a748594b-e068-40fa-9c53-2d22039a2a82" providerId="ADAL" clId="{EDB574A1-9DED-484A-90F0-5CF48BDAD79F}" dt="2024-07-16T17:12:19.138" v="6022" actId="478"/>
          <ac:spMkLst>
            <pc:docMk/>
            <pc:sldMk cId="3707397959" sldId="10574"/>
            <ac:spMk id="3" creationId="{28BC7231-D413-7767-D494-3447B055A426}"/>
          </ac:spMkLst>
        </pc:spChg>
        <pc:spChg chg="add del mod">
          <ac:chgData name="Damian Wilson" userId="a748594b-e068-40fa-9c53-2d22039a2a82" providerId="ADAL" clId="{EDB574A1-9DED-484A-90F0-5CF48BDAD79F}" dt="2024-07-16T17:13:26.661" v="6044" actId="14100"/>
          <ac:spMkLst>
            <pc:docMk/>
            <pc:sldMk cId="3707397959" sldId="10574"/>
            <ac:spMk id="5" creationId="{58AF7E69-9E50-7E1C-5276-A181470F662B}"/>
          </ac:spMkLst>
        </pc:spChg>
        <pc:spChg chg="add del mod">
          <ac:chgData name="Damian Wilson" userId="a748594b-e068-40fa-9c53-2d22039a2a82" providerId="ADAL" clId="{EDB574A1-9DED-484A-90F0-5CF48BDAD79F}" dt="2024-07-16T17:12:55.245" v="6028" actId="478"/>
          <ac:spMkLst>
            <pc:docMk/>
            <pc:sldMk cId="3707397959" sldId="10574"/>
            <ac:spMk id="6" creationId="{02F74C9E-6D3C-24B6-731D-FBF567559588}"/>
          </ac:spMkLst>
        </pc:spChg>
        <pc:spChg chg="mod">
          <ac:chgData name="Damian Wilson" userId="a748594b-e068-40fa-9c53-2d22039a2a82" providerId="ADAL" clId="{EDB574A1-9DED-484A-90F0-5CF48BDAD79F}" dt="2024-07-16T17:12:27.540" v="6023"/>
          <ac:spMkLst>
            <pc:docMk/>
            <pc:sldMk cId="3707397959" sldId="10574"/>
            <ac:spMk id="11" creationId="{4CC91BD9-4924-FE50-F151-485AE4F6D218}"/>
          </ac:spMkLst>
        </pc:spChg>
        <pc:spChg chg="mod">
          <ac:chgData name="Damian Wilson" userId="a748594b-e068-40fa-9c53-2d22039a2a82" providerId="ADAL" clId="{EDB574A1-9DED-484A-90F0-5CF48BDAD79F}" dt="2024-07-16T17:12:27.540" v="6023"/>
          <ac:spMkLst>
            <pc:docMk/>
            <pc:sldMk cId="3707397959" sldId="10574"/>
            <ac:spMk id="13" creationId="{84F53C32-D502-43D5-221D-157A6EA906F6}"/>
          </ac:spMkLst>
        </pc:spChg>
        <pc:spChg chg="mod">
          <ac:chgData name="Damian Wilson" userId="a748594b-e068-40fa-9c53-2d22039a2a82" providerId="ADAL" clId="{EDB574A1-9DED-484A-90F0-5CF48BDAD79F}" dt="2024-07-16T17:12:27.540" v="6023"/>
          <ac:spMkLst>
            <pc:docMk/>
            <pc:sldMk cId="3707397959" sldId="10574"/>
            <ac:spMk id="15" creationId="{38084D5F-CA95-A0FD-CABA-FD09AD2794DB}"/>
          </ac:spMkLst>
        </pc:spChg>
        <pc:spChg chg="add mod">
          <ac:chgData name="Damian Wilson" userId="a748594b-e068-40fa-9c53-2d22039a2a82" providerId="ADAL" clId="{EDB574A1-9DED-484A-90F0-5CF48BDAD79F}" dt="2024-07-17T11:02:10.784" v="9941" actId="962"/>
          <ac:spMkLst>
            <pc:docMk/>
            <pc:sldMk cId="3707397959" sldId="10574"/>
            <ac:spMk id="17" creationId="{B64CA1F5-BA9E-F8B0-C6B5-766ACB86F0C5}"/>
          </ac:spMkLst>
        </pc:spChg>
        <pc:spChg chg="add mod">
          <ac:chgData name="Damian Wilson" userId="a748594b-e068-40fa-9c53-2d22039a2a82" providerId="ADAL" clId="{EDB574A1-9DED-484A-90F0-5CF48BDAD79F}" dt="2024-07-17T11:02:11.380" v="9942" actId="962"/>
          <ac:spMkLst>
            <pc:docMk/>
            <pc:sldMk cId="3707397959" sldId="10574"/>
            <ac:spMk id="18" creationId="{D9086BC8-BF3F-CFCC-E12A-1DC8572DB3EE}"/>
          </ac:spMkLst>
        </pc:spChg>
        <pc:spChg chg="add mod">
          <ac:chgData name="Damian Wilson" userId="a748594b-e068-40fa-9c53-2d22039a2a82" providerId="ADAL" clId="{EDB574A1-9DED-484A-90F0-5CF48BDAD79F}" dt="2024-07-17T11:02:11.934" v="9943" actId="962"/>
          <ac:spMkLst>
            <pc:docMk/>
            <pc:sldMk cId="3707397959" sldId="10574"/>
            <ac:spMk id="19" creationId="{95B578EC-B348-F033-EA79-CBEC7BC7273F}"/>
          </ac:spMkLst>
        </pc:spChg>
        <pc:spChg chg="add mod">
          <ac:chgData name="Damian Wilson" userId="a748594b-e068-40fa-9c53-2d22039a2a82" providerId="ADAL" clId="{EDB574A1-9DED-484A-90F0-5CF48BDAD79F}" dt="2024-07-17T11:02:14.137" v="9944" actId="962"/>
          <ac:spMkLst>
            <pc:docMk/>
            <pc:sldMk cId="3707397959" sldId="10574"/>
            <ac:spMk id="20" creationId="{045BB3C9-3252-A5D7-CC27-0723D92154C0}"/>
          </ac:spMkLst>
        </pc:spChg>
        <pc:spChg chg="add mod ord">
          <ac:chgData name="Damian Wilson" userId="a748594b-e068-40fa-9c53-2d22039a2a82" providerId="ADAL" clId="{EDB574A1-9DED-484A-90F0-5CF48BDAD79F}" dt="2024-07-17T11:01:52.246" v="9938" actId="13244"/>
          <ac:spMkLst>
            <pc:docMk/>
            <pc:sldMk cId="3707397959" sldId="10574"/>
            <ac:spMk id="22" creationId="{3BDC67D7-C930-6245-D301-173C01D9B121}"/>
          </ac:spMkLst>
        </pc:spChg>
        <pc:grpChg chg="add mod">
          <ac:chgData name="Damian Wilson" userId="a748594b-e068-40fa-9c53-2d22039a2a82" providerId="ADAL" clId="{EDB574A1-9DED-484A-90F0-5CF48BDAD79F}" dt="2024-07-17T10:49:30.398" v="8534" actId="962"/>
          <ac:grpSpMkLst>
            <pc:docMk/>
            <pc:sldMk cId="3707397959" sldId="10574"/>
            <ac:grpSpMk id="7" creationId="{81CF826C-8E3D-3F89-EFA6-AB083C5B15A0}"/>
          </ac:grpSpMkLst>
        </pc:grpChg>
        <pc:grpChg chg="mod">
          <ac:chgData name="Damian Wilson" userId="a748594b-e068-40fa-9c53-2d22039a2a82" providerId="ADAL" clId="{EDB574A1-9DED-484A-90F0-5CF48BDAD79F}" dt="2024-07-16T17:12:27.540" v="6023"/>
          <ac:grpSpMkLst>
            <pc:docMk/>
            <pc:sldMk cId="3707397959" sldId="10574"/>
            <ac:grpSpMk id="8" creationId="{08B95A0B-1884-CD52-2F76-6875BBE79923}"/>
          </ac:grpSpMkLst>
        </pc:grpChg>
        <pc:grpChg chg="mod">
          <ac:chgData name="Damian Wilson" userId="a748594b-e068-40fa-9c53-2d22039a2a82" providerId="ADAL" clId="{EDB574A1-9DED-484A-90F0-5CF48BDAD79F}" dt="2024-07-16T17:12:27.540" v="6023"/>
          <ac:grpSpMkLst>
            <pc:docMk/>
            <pc:sldMk cId="3707397959" sldId="10574"/>
            <ac:grpSpMk id="9" creationId="{1A64B3A3-5E2E-7AD6-2E36-E102338A03C8}"/>
          </ac:grpSpMkLst>
        </pc:grpChg>
        <pc:grpChg chg="mod">
          <ac:chgData name="Damian Wilson" userId="a748594b-e068-40fa-9c53-2d22039a2a82" providerId="ADAL" clId="{EDB574A1-9DED-484A-90F0-5CF48BDAD79F}" dt="2024-07-16T17:12:27.540" v="6023"/>
          <ac:grpSpMkLst>
            <pc:docMk/>
            <pc:sldMk cId="3707397959" sldId="10574"/>
            <ac:grpSpMk id="10" creationId="{B14B8DC1-238A-9699-81C9-B85DC7E89F49}"/>
          </ac:grpSpMkLst>
        </pc:grpChg>
        <pc:picChg chg="add mod">
          <ac:chgData name="Damian Wilson" userId="a748594b-e068-40fa-9c53-2d22039a2a82" providerId="ADAL" clId="{EDB574A1-9DED-484A-90F0-5CF48BDAD79F}" dt="2024-07-17T11:01:54.507" v="9939" actId="962"/>
          <ac:picMkLst>
            <pc:docMk/>
            <pc:sldMk cId="3707397959" sldId="10574"/>
            <ac:picMk id="4" creationId="{6FB187BE-1FC5-6EB6-7871-BC367C37013E}"/>
          </ac:picMkLst>
        </pc:picChg>
        <pc:picChg chg="mod">
          <ac:chgData name="Damian Wilson" userId="a748594b-e068-40fa-9c53-2d22039a2a82" providerId="ADAL" clId="{EDB574A1-9DED-484A-90F0-5CF48BDAD79F}" dt="2024-07-16T17:12:27.540" v="6023"/>
          <ac:picMkLst>
            <pc:docMk/>
            <pc:sldMk cId="3707397959" sldId="10574"/>
            <ac:picMk id="12" creationId="{88C4F5E6-F818-5C66-3E68-B87DC370AB8F}"/>
          </ac:picMkLst>
        </pc:picChg>
        <pc:picChg chg="mod">
          <ac:chgData name="Damian Wilson" userId="a748594b-e068-40fa-9c53-2d22039a2a82" providerId="ADAL" clId="{EDB574A1-9DED-484A-90F0-5CF48BDAD79F}" dt="2024-07-16T17:12:27.540" v="6023"/>
          <ac:picMkLst>
            <pc:docMk/>
            <pc:sldMk cId="3707397959" sldId="10574"/>
            <ac:picMk id="14" creationId="{DC22203F-1AA0-F2D6-587C-CAE2105DF65F}"/>
          </ac:picMkLst>
        </pc:picChg>
        <pc:picChg chg="mod">
          <ac:chgData name="Damian Wilson" userId="a748594b-e068-40fa-9c53-2d22039a2a82" providerId="ADAL" clId="{EDB574A1-9DED-484A-90F0-5CF48BDAD79F}" dt="2024-07-16T17:12:27.540" v="6023"/>
          <ac:picMkLst>
            <pc:docMk/>
            <pc:sldMk cId="3707397959" sldId="10574"/>
            <ac:picMk id="16" creationId="{D7724389-98FF-2376-A57A-B404C5EA3653}"/>
          </ac:picMkLst>
        </pc:picChg>
        <pc:picChg chg="add mod">
          <ac:chgData name="Damian Wilson" userId="a748594b-e068-40fa-9c53-2d22039a2a82" providerId="ADAL" clId="{EDB574A1-9DED-484A-90F0-5CF48BDAD79F}" dt="2024-07-17T11:01:56.174" v="9940" actId="962"/>
          <ac:picMkLst>
            <pc:docMk/>
            <pc:sldMk cId="3707397959" sldId="10574"/>
            <ac:picMk id="21" creationId="{4E23F760-B35D-FD4B-83C0-74030944C6A3}"/>
          </ac:picMkLst>
        </pc:picChg>
      </pc:sldChg>
      <pc:sldChg chg="addSp delSp modSp new mod">
        <pc:chgData name="Damian Wilson" userId="a748594b-e068-40fa-9c53-2d22039a2a82" providerId="ADAL" clId="{EDB574A1-9DED-484A-90F0-5CF48BDAD79F}" dt="2024-07-17T11:06:37.588" v="10036" actId="20577"/>
        <pc:sldMkLst>
          <pc:docMk/>
          <pc:sldMk cId="774236695" sldId="10575"/>
        </pc:sldMkLst>
        <pc:spChg chg="del">
          <ac:chgData name="Damian Wilson" userId="a748594b-e068-40fa-9c53-2d22039a2a82" providerId="ADAL" clId="{EDB574A1-9DED-484A-90F0-5CF48BDAD79F}" dt="2024-07-16T17:17:19.210" v="6078" actId="478"/>
          <ac:spMkLst>
            <pc:docMk/>
            <pc:sldMk cId="774236695" sldId="10575"/>
            <ac:spMk id="2" creationId="{3C6F436B-5BBB-EAA5-EBEE-062F6D45B1D5}"/>
          </ac:spMkLst>
        </pc:spChg>
        <pc:spChg chg="del">
          <ac:chgData name="Damian Wilson" userId="a748594b-e068-40fa-9c53-2d22039a2a82" providerId="ADAL" clId="{EDB574A1-9DED-484A-90F0-5CF48BDAD79F}" dt="2024-07-16T17:17:17.494" v="6077" actId="478"/>
          <ac:spMkLst>
            <pc:docMk/>
            <pc:sldMk cId="774236695" sldId="10575"/>
            <ac:spMk id="3" creationId="{D51FE473-382F-4E5C-8E77-91121D39FCE3}"/>
          </ac:spMkLst>
        </pc:spChg>
        <pc:spChg chg="add mod ord">
          <ac:chgData name="Damian Wilson" userId="a748594b-e068-40fa-9c53-2d22039a2a82" providerId="ADAL" clId="{EDB574A1-9DED-484A-90F0-5CF48BDAD79F}" dt="2024-07-17T11:06:37.588" v="10036" actId="20577"/>
          <ac:spMkLst>
            <pc:docMk/>
            <pc:sldMk cId="774236695" sldId="10575"/>
            <ac:spMk id="4" creationId="{8503AFAF-7982-3740-89AC-351C057225A0}"/>
          </ac:spMkLst>
        </pc:spChg>
        <pc:spChg chg="add mod ord">
          <ac:chgData name="Damian Wilson" userId="a748594b-e068-40fa-9c53-2d22039a2a82" providerId="ADAL" clId="{EDB574A1-9DED-484A-90F0-5CF48BDAD79F}" dt="2024-07-17T10:56:58.466" v="9902" actId="13244"/>
          <ac:spMkLst>
            <pc:docMk/>
            <pc:sldMk cId="774236695" sldId="10575"/>
            <ac:spMk id="6" creationId="{3A8E89E2-978D-DB91-9BE8-F36E6735A228}"/>
          </ac:spMkLst>
        </pc:spChg>
        <pc:picChg chg="add mod ord">
          <ac:chgData name="Damian Wilson" userId="a748594b-e068-40fa-9c53-2d22039a2a82" providerId="ADAL" clId="{EDB574A1-9DED-484A-90F0-5CF48BDAD79F}" dt="2024-07-17T11:03:30.595" v="9951" actId="962"/>
          <ac:picMkLst>
            <pc:docMk/>
            <pc:sldMk cId="774236695" sldId="10575"/>
            <ac:picMk id="5" creationId="{9918E6C7-7CF0-CBB7-23D3-80B6CFADCC07}"/>
          </ac:picMkLst>
        </pc:picChg>
        <pc:picChg chg="add mod">
          <ac:chgData name="Damian Wilson" userId="a748594b-e068-40fa-9c53-2d22039a2a82" providerId="ADAL" clId="{EDB574A1-9DED-484A-90F0-5CF48BDAD79F}" dt="2024-07-17T11:03:32.307" v="9952" actId="962"/>
          <ac:picMkLst>
            <pc:docMk/>
            <pc:sldMk cId="774236695" sldId="10575"/>
            <ac:picMk id="7" creationId="{9E8535D7-64FC-5438-A963-26D7D59073CD}"/>
          </ac:picMkLst>
        </pc:picChg>
        <pc:picChg chg="add del mod">
          <ac:chgData name="Damian Wilson" userId="a748594b-e068-40fa-9c53-2d22039a2a82" providerId="ADAL" clId="{EDB574A1-9DED-484A-90F0-5CF48BDAD79F}" dt="2024-07-16T17:24:35.914" v="6175" actId="478"/>
          <ac:picMkLst>
            <pc:docMk/>
            <pc:sldMk cId="774236695" sldId="10575"/>
            <ac:picMk id="3074" creationId="{36DF45B1-DC05-1FFA-2492-11B379FA6FB8}"/>
          </ac:picMkLst>
        </pc:picChg>
        <pc:picChg chg="add mod">
          <ac:chgData name="Damian Wilson" userId="a748594b-e068-40fa-9c53-2d22039a2a82" providerId="ADAL" clId="{EDB574A1-9DED-484A-90F0-5CF48BDAD79F}" dt="2024-07-16T17:30:39.189" v="6568" actId="962"/>
          <ac:picMkLst>
            <pc:docMk/>
            <pc:sldMk cId="774236695" sldId="10575"/>
            <ac:picMk id="3075" creationId="{361D9E7F-D450-052E-DDF6-2556D3F25FE0}"/>
          </ac:picMkLst>
        </pc:picChg>
        <pc:picChg chg="add del">
          <ac:chgData name="Damian Wilson" userId="a748594b-e068-40fa-9c53-2d22039a2a82" providerId="ADAL" clId="{EDB574A1-9DED-484A-90F0-5CF48BDAD79F}" dt="2024-07-16T17:17:34.646" v="6082" actId="478"/>
          <ac:picMkLst>
            <pc:docMk/>
            <pc:sldMk cId="774236695" sldId="10575"/>
            <ac:picMk id="3076" creationId="{63605EAC-ED98-52BD-7323-B4962F169276}"/>
          </ac:picMkLst>
        </pc:picChg>
      </pc:sldChg>
      <pc:sldMasterChg chg="delSldLayout">
        <pc:chgData name="Damian Wilson" userId="a748594b-e068-40fa-9c53-2d22039a2a82" providerId="ADAL" clId="{EDB574A1-9DED-484A-90F0-5CF48BDAD79F}" dt="2024-07-15T11:59:12.411" v="4715" actId="2696"/>
        <pc:sldMasterMkLst>
          <pc:docMk/>
          <pc:sldMasterMk cId="2865623091" sldId="2147483672"/>
        </pc:sldMasterMkLst>
        <pc:sldLayoutChg chg="del">
          <pc:chgData name="Damian Wilson" userId="a748594b-e068-40fa-9c53-2d22039a2a82" providerId="ADAL" clId="{EDB574A1-9DED-484A-90F0-5CF48BDAD79F}" dt="2024-07-15T11:59:12.411" v="4715" actId="2696"/>
          <pc:sldLayoutMkLst>
            <pc:docMk/>
            <pc:sldMasterMk cId="2865623091" sldId="2147483672"/>
            <pc:sldLayoutMk cId="3825558710" sldId="2147483696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84577C-EA79-4152-A319-767BE33DB9BE}" type="datetimeFigureOut">
              <a:rPr lang="en-GB" smtClean="0"/>
              <a:t>17/07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F61944-C69E-47CB-9CF7-C617B85E938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81680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F61944-C69E-47CB-9CF7-C617B85E938C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44071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54">
              <a:lnSpc>
                <a:spcPct val="107000"/>
              </a:lnSpc>
            </a:pPr>
            <a:r>
              <a:rPr lang="en-GB" sz="1800">
                <a:solidFill>
                  <a:srgbClr val="2A2A2A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ince the 1950s, Earth System Model communities have developed skills in physical fluid dynamics, using </a:t>
            </a:r>
            <a:r>
              <a:rPr lang="en-GB" sz="1800" err="1">
                <a:solidFill>
                  <a:srgbClr val="2A2A2A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cpu</a:t>
            </a:r>
            <a:r>
              <a:rPr lang="en-GB" sz="1800">
                <a:solidFill>
                  <a:srgbClr val="2A2A2A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based supercomputers and Fortran coding</a:t>
            </a:r>
          </a:p>
          <a:p>
            <a:pPr defTabSz="914354">
              <a:lnSpc>
                <a:spcPct val="107000"/>
              </a:lnSpc>
              <a:spcAft>
                <a:spcPts val="600"/>
              </a:spcAft>
            </a:pPr>
            <a:r>
              <a:rPr lang="en-GB" sz="1800">
                <a:solidFill>
                  <a:srgbClr val="2A2A2A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cience &amp; Technology needed to advance our ability to build Earth System Models is undergoing a radical transformation:</a:t>
            </a:r>
          </a:p>
          <a:p>
            <a:pPr marL="742920" lvl="1" indent="-285744" algn="l" defTabSz="914354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800">
                <a:solidFill>
                  <a:srgbClr val="2A2A2A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Big data from our model systems, new analysis techniques needed</a:t>
            </a:r>
          </a:p>
          <a:p>
            <a:pPr marL="742920" lvl="1" indent="-285744" algn="l" defTabSz="914354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800">
                <a:solidFill>
                  <a:srgbClr val="2A2A2A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Machine Learning speeding up prediction and projection and introducing entirely new methods</a:t>
            </a:r>
          </a:p>
          <a:p>
            <a:pPr marL="742920" lvl="1" indent="-285744" algn="l" defTabSz="914354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800">
                <a:solidFill>
                  <a:srgbClr val="2A2A2A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New computing architectures to take advantage of</a:t>
            </a:r>
          </a:p>
          <a:p>
            <a:pPr marL="742920" lvl="1" indent="-285744" algn="l" defTabSz="914354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800">
                <a:solidFill>
                  <a:srgbClr val="2A2A2A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New coding skills needed in python, C++, using git, </a:t>
            </a:r>
            <a:r>
              <a:rPr lang="en-GB" sz="1800" err="1">
                <a:solidFill>
                  <a:srgbClr val="2A2A2A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github</a:t>
            </a:r>
            <a:endParaRPr lang="en-GB" sz="1800">
              <a:solidFill>
                <a:srgbClr val="2A2A2A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defTabSz="914354">
              <a:lnSpc>
                <a:spcPct val="107000"/>
              </a:lnSpc>
            </a:pPr>
            <a:r>
              <a:rPr lang="en-GB" sz="1800">
                <a:solidFill>
                  <a:srgbClr val="2A2A2A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Future development and application of atmospheric and climate science will need a new generation of scientists and technologists working together</a:t>
            </a:r>
          </a:p>
          <a:p>
            <a:pPr defTabSz="914354">
              <a:lnSpc>
                <a:spcPct val="107000"/>
              </a:lnSpc>
            </a:pPr>
            <a:r>
              <a:rPr lang="en-GB" sz="1800">
                <a:solidFill>
                  <a:srgbClr val="2A2A2A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o, in May 2022, NOAA NWS Director Ken Graham met with Met Office CEO Penny Endersby and Chief Scientist Stephen Belcher and created a vision for a Transatlantic Data Science Academy</a:t>
            </a:r>
          </a:p>
          <a:p>
            <a:pPr marL="457176" lvl="1" indent="0" algn="l" defTabSz="914354">
              <a:lnSpc>
                <a:spcPct val="107000"/>
              </a:lnSpc>
              <a:buFont typeface="Arial" panose="020B0604020202020204" pitchFamily="34" charset="0"/>
              <a:buNone/>
            </a:pPr>
            <a:endParaRPr lang="en-GB" sz="1800">
              <a:solidFill>
                <a:srgbClr val="2A2A2A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F61944-C69E-47CB-9CF7-C617B85E938C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63522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AB6E09-32F5-4A42-8DEE-19C0874DA41C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80872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5939" indent="-175939">
              <a:buFont typeface="Arial" panose="020B0604020202020204" pitchFamily="34" charset="0"/>
              <a:buChar char="•"/>
            </a:pPr>
            <a:r>
              <a:rPr lang="en-GB"/>
              <a:t>Exchanges WP aims to offer opportunities for MO staff to work with NOAA and their Partner affiliates – in the US. And vice-versa. In time, we also hope to open up these opportunities to the MOAP. &amp; increase diversity. </a:t>
            </a:r>
          </a:p>
          <a:p>
            <a:pPr marL="175939" indent="-175939">
              <a:buFont typeface="Arial" panose="020B0604020202020204" pitchFamily="34" charset="0"/>
              <a:buChar char="•"/>
            </a:pPr>
            <a:r>
              <a:rPr lang="en-GB"/>
              <a:t>Kate Huxtable, Foundation Scientist in Data Assimilation team, spent 5 weeks in Boulder at JCSDA.</a:t>
            </a:r>
          </a:p>
          <a:p>
            <a:pPr marL="645110" lvl="1" indent="-175939">
              <a:buFont typeface="Arial" panose="020B0604020202020204" pitchFamily="34" charset="0"/>
              <a:buChar char="•"/>
            </a:pPr>
            <a:r>
              <a:rPr lang="en-GB"/>
              <a:t>Kate worked with US scientists </a:t>
            </a:r>
            <a:r>
              <a:rPr lang="en-GB" b="0" i="0">
                <a:solidFill>
                  <a:srgbClr val="2A2A2A"/>
                </a:solidFill>
                <a:effectLst/>
                <a:latin typeface="Segoe UI" panose="020B0502040204020203" pitchFamily="34" charset="0"/>
              </a:rPr>
              <a:t>who had implemented a more established Ensemble Data Assimilation approach in JEDI. They wanted to test and compare the two methods at the earliest-possible opportunity.</a:t>
            </a:r>
          </a:p>
          <a:p>
            <a:pPr marL="645110" lvl="1" indent="-175939">
              <a:buFont typeface="Arial" panose="020B0604020202020204" pitchFamily="34" charset="0"/>
              <a:buChar char="•"/>
            </a:pPr>
            <a:r>
              <a:rPr lang="en-GB" b="0" i="0">
                <a:solidFill>
                  <a:srgbClr val="2A2A2A"/>
                </a:solidFill>
                <a:effectLst/>
                <a:latin typeface="Segoe UI" panose="020B0502040204020203" pitchFamily="34" charset="0"/>
              </a:rPr>
              <a:t>Testing the algorithm highlighted unforeseen problems with the code. They were able to create innovative solutions to the issues – made a lot of progress in person. </a:t>
            </a:r>
          </a:p>
          <a:p>
            <a:pPr marL="175939" indent="-175939">
              <a:buFont typeface="Arial" panose="020B0604020202020204" pitchFamily="34" charset="0"/>
              <a:buChar char="•"/>
            </a:pPr>
            <a:r>
              <a:rPr lang="en-GB" b="0" i="0">
                <a:solidFill>
                  <a:srgbClr val="2A2A2A"/>
                </a:solidFill>
                <a:effectLst/>
                <a:latin typeface="Segoe UI" panose="020B0502040204020203" pitchFamily="34" charset="0"/>
              </a:rPr>
              <a:t>Kate found the trip to have lots of benefits for her personal development: working with established women in senior scientist roles, networking, giving in-depth technical presentations, increased learning. </a:t>
            </a:r>
          </a:p>
          <a:p>
            <a:pPr marL="175939" indent="-175939">
              <a:buFont typeface="Arial" panose="020B0604020202020204" pitchFamily="34" charset="0"/>
              <a:buChar char="•"/>
            </a:pPr>
            <a:r>
              <a:rPr lang="en-GB" b="0" i="0">
                <a:solidFill>
                  <a:srgbClr val="2A2A2A"/>
                </a:solidFill>
                <a:effectLst/>
                <a:latin typeface="Segoe UI" panose="020B0502040204020203" pitchFamily="34" charset="0"/>
              </a:rPr>
              <a:t>JCSDA colleagues took Kate on walks </a:t>
            </a:r>
            <a:r>
              <a:rPr lang="en-GB" b="0" i="0" err="1">
                <a:solidFill>
                  <a:srgbClr val="2A2A2A"/>
                </a:solidFill>
                <a:effectLst/>
                <a:latin typeface="Segoe UI" panose="020B0502040204020203" pitchFamily="34" charset="0"/>
              </a:rPr>
              <a:t>eg</a:t>
            </a:r>
            <a:r>
              <a:rPr lang="en-GB" b="0" i="0">
                <a:solidFill>
                  <a:srgbClr val="2A2A2A"/>
                </a:solidFill>
                <a:effectLst/>
                <a:latin typeface="Segoe UI" panose="020B0502040204020203" pitchFamily="34" charset="0"/>
              </a:rPr>
              <a:t> Boulder Flatirons.</a:t>
            </a:r>
          </a:p>
          <a:p>
            <a:pPr marL="175939" indent="-175939">
              <a:buFont typeface="Arial" panose="020B0604020202020204" pitchFamily="34" charset="0"/>
              <a:buChar char="•"/>
            </a:pPr>
            <a:r>
              <a:rPr lang="en-GB" b="0" i="0">
                <a:solidFill>
                  <a:srgbClr val="2A2A2A"/>
                </a:solidFill>
                <a:effectLst/>
                <a:latin typeface="Segoe UI" panose="020B0502040204020203" pitchFamily="34" charset="0"/>
              </a:rPr>
              <a:t>Tom Hill, Satellite &amp; Surface Assimilation team, current in the US.</a:t>
            </a:r>
          </a:p>
          <a:p>
            <a:pPr marL="175939" indent="-175939">
              <a:buFont typeface="Arial" panose="020B0604020202020204" pitchFamily="34" charset="0"/>
              <a:buChar char="•"/>
            </a:pPr>
            <a:r>
              <a:rPr lang="en-GB" b="0" i="0">
                <a:solidFill>
                  <a:srgbClr val="2A2A2A"/>
                </a:solidFill>
                <a:effectLst/>
                <a:latin typeface="Segoe UI" panose="020B0502040204020203" pitchFamily="34" charset="0"/>
              </a:rPr>
              <a:t>Looking to scale this up. </a:t>
            </a:r>
          </a:p>
          <a:p>
            <a:pPr marL="175939" indent="-175939">
              <a:buFont typeface="Arial" panose="020B0604020202020204" pitchFamily="34" charset="0"/>
              <a:buChar char="•"/>
            </a:pPr>
            <a:r>
              <a:rPr lang="en-GB" b="0" i="0">
                <a:solidFill>
                  <a:srgbClr val="2A2A2A"/>
                </a:solidFill>
                <a:effectLst/>
                <a:latin typeface="Segoe UI" panose="020B0502040204020203" pitchFamily="34" charset="0"/>
              </a:rPr>
              <a:t>I’m keen to talk to anyone who has a project (or may have a project in future)/hackathon/time-boxed sprint that would benefit from an exchange – MO to US, or vice versa. 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F61944-C69E-47CB-9CF7-C617B85E938C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38620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Including things like:</a:t>
            </a:r>
          </a:p>
          <a:p>
            <a:r>
              <a:rPr lang="en-GB"/>
              <a:t>Supporting RSE communities – e.g. RSECON24 discussion session</a:t>
            </a:r>
          </a:p>
          <a:p>
            <a:r>
              <a:rPr lang="en-GB"/>
              <a:t>Supporting </a:t>
            </a:r>
            <a:r>
              <a:rPr lang="en-GB" err="1"/>
              <a:t>SpaceApps</a:t>
            </a:r>
            <a:r>
              <a:rPr lang="en-GB"/>
              <a:t> challenge; other hackathons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F61944-C69E-47CB-9CF7-C617B85E938C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62329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Supporting a diverse set of learners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F61944-C69E-47CB-9CF7-C617B85E938C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33779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F61944-C69E-47CB-9CF7-C617B85E938C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17234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F61944-C69E-47CB-9CF7-C617B85E938C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86797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0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3AB718E9-3F82-424E-ABA2-5A93833597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215059" cy="687096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6000" y="931200"/>
            <a:ext cx="6688048" cy="1543595"/>
          </a:xfrm>
        </p:spPr>
        <p:txBody>
          <a:bodyPr anchor="b">
            <a:normAutofit/>
          </a:bodyPr>
          <a:lstStyle>
            <a:lvl1pPr algn="l">
              <a:defRPr sz="4267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6000" y="2838735"/>
            <a:ext cx="5778197" cy="2419065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314365"/>
            <a:ext cx="12192000" cy="5436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0" rIns="480000" rtlCol="0" anchor="ctr"/>
          <a:lstStyle/>
          <a:p>
            <a:pPr algn="l" defTabSz="601118">
              <a:tabLst/>
            </a:pPr>
            <a:r>
              <a:rPr lang="fr-BE" sz="1067">
                <a:solidFill>
                  <a:schemeClr val="bg2"/>
                </a:solidFill>
              </a:rPr>
              <a:t>www.metoffice.gov.uk	</a:t>
            </a:r>
            <a:endParaRPr lang="en-GB" sz="1067">
              <a:solidFill>
                <a:schemeClr val="bg2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5622877" y="6314365"/>
            <a:ext cx="6569123" cy="5436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0" rIns="480000" rtlCol="0" anchor="ctr"/>
          <a:lstStyle/>
          <a:p>
            <a:pPr algn="r" defTabSz="601118">
              <a:tabLst/>
            </a:pPr>
            <a:r>
              <a:rPr lang="fr-BE" sz="1067">
                <a:solidFill>
                  <a:schemeClr val="bg2"/>
                </a:solidFill>
              </a:rPr>
              <a:t>© Crown Copyright</a:t>
            </a:r>
            <a:r>
              <a:rPr lang="fr-BE" sz="1067" baseline="0">
                <a:solidFill>
                  <a:schemeClr val="bg2"/>
                </a:solidFill>
              </a:rPr>
              <a:t> 2020, Met Office</a:t>
            </a:r>
            <a:endParaRPr lang="en-GB" sz="1067">
              <a:solidFill>
                <a:schemeClr val="bg2"/>
              </a:solidFill>
            </a:endParaRPr>
          </a:p>
        </p:txBody>
      </p:sp>
      <p:pic>
        <p:nvPicPr>
          <p:cNvPr id="10" name="MO_MASTER_for_dark_backg_RBG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244800" y="72000"/>
            <a:ext cx="2405040" cy="7542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525081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umns 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6000" y="2064000"/>
            <a:ext cx="7560000" cy="4080000"/>
          </a:xfrm>
        </p:spPr>
        <p:txBody>
          <a:bodyPr/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56000" y="2064000"/>
            <a:ext cx="3600000" cy="4080000"/>
          </a:xfrm>
        </p:spPr>
        <p:txBody>
          <a:bodyPr/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076469" y="2064000"/>
            <a:ext cx="0" cy="4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F9FE41-C8F9-47EF-94C3-C489748B47D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74548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6000" y="2064000"/>
            <a:ext cx="3600000" cy="4080000"/>
          </a:xfrm>
        </p:spPr>
        <p:txBody>
          <a:bodyPr/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56000" y="2064000"/>
            <a:ext cx="3600000" cy="4080000"/>
          </a:xfrm>
        </p:spPr>
        <p:txBody>
          <a:bodyPr/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124684" y="2064000"/>
            <a:ext cx="0" cy="4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Content Placeholder 3"/>
          <p:cNvSpPr>
            <a:spLocks noGrp="1"/>
          </p:cNvSpPr>
          <p:nvPr>
            <p:ph sz="half" idx="10"/>
          </p:nvPr>
        </p:nvSpPr>
        <p:spPr>
          <a:xfrm>
            <a:off x="4296000" y="2064000"/>
            <a:ext cx="3600000" cy="4080000"/>
          </a:xfrm>
        </p:spPr>
        <p:txBody>
          <a:bodyPr/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076469" y="2064000"/>
            <a:ext cx="0" cy="4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5F9FE41-C8F9-47EF-94C3-C489748B47D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44548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1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6000" y="932987"/>
            <a:ext cx="5450651" cy="768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6000" y="2064000"/>
            <a:ext cx="5450651" cy="4080000"/>
          </a:xfrm>
        </p:spPr>
        <p:txBody>
          <a:bodyPr/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083029" y="1"/>
            <a:ext cx="6096000" cy="628904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>
                <a:lumMod val="10000"/>
                <a:lumOff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F9FE41-C8F9-47EF-94C3-C489748B47D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18526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ontent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F9FE41-C8F9-47EF-94C3-C489748B47D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10335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945958"/>
            <a:ext cx="12192000" cy="536318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>
                <a:lumMod val="10000"/>
                <a:lumOff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336551" y="1091822"/>
            <a:ext cx="11518900" cy="505286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5F9FE41-C8F9-47EF-94C3-C489748B47D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53457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nten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F9FE41-C8F9-47EF-94C3-C489748B47D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69349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ntent - real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6314365"/>
            <a:ext cx="12192000" cy="543636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0" rIns="480000" rtlCol="0" anchor="ctr"/>
          <a:lstStyle/>
          <a:p>
            <a:pPr algn="l" defTabSz="601118">
              <a:tabLst/>
            </a:pPr>
            <a:r>
              <a:rPr lang="fr-BE" sz="1067">
                <a:solidFill>
                  <a:schemeClr val="tx1"/>
                </a:solidFill>
              </a:rPr>
              <a:t>	</a:t>
            </a:r>
            <a:endParaRPr lang="en-GB" sz="1067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F9FE41-C8F9-47EF-94C3-C489748B47D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71764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ivider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304000"/>
            <a:ext cx="12192000" cy="4554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6000" y="932986"/>
            <a:ext cx="11520000" cy="120064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6000" y="2633973"/>
            <a:ext cx="11520000" cy="3510027"/>
          </a:xfrm>
        </p:spPr>
        <p:txBody>
          <a:bodyPr/>
          <a:lstStyle>
            <a:lvl1pPr marL="0" indent="0">
              <a:buNone/>
              <a:defRPr baseline="0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6314365"/>
            <a:ext cx="12192000" cy="5436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0" rIns="480000" rtlCol="0" anchor="ctr"/>
          <a:lstStyle/>
          <a:p>
            <a:pPr algn="l" defTabSz="601118">
              <a:tabLst/>
            </a:pPr>
            <a:r>
              <a:rPr lang="fr-BE" sz="1067">
                <a:solidFill>
                  <a:schemeClr val="tx1"/>
                </a:solidFill>
              </a:rPr>
              <a:t>	</a:t>
            </a:r>
            <a:endParaRPr lang="en-GB" sz="1067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F9FE41-C8F9-47EF-94C3-C489748B47D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4373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ivider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304000"/>
            <a:ext cx="12192000" cy="4554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6000" y="932987"/>
            <a:ext cx="11520000" cy="120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6000" y="2635200"/>
            <a:ext cx="11520000" cy="3508800"/>
          </a:xfrm>
        </p:spPr>
        <p:txBody>
          <a:bodyPr/>
          <a:lstStyle>
            <a:lvl1pPr marL="0" indent="0">
              <a:buNone/>
              <a:defRPr baseline="0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6314365"/>
            <a:ext cx="12192000" cy="5436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0" rIns="480000" rtlCol="0" anchor="ctr"/>
          <a:lstStyle/>
          <a:p>
            <a:pPr algn="l" defTabSz="601118">
              <a:tabLst/>
            </a:pPr>
            <a:r>
              <a:rPr lang="fr-BE" sz="1067">
                <a:solidFill>
                  <a:schemeClr val="tx1"/>
                </a:solidFill>
              </a:rPr>
              <a:t>	</a:t>
            </a:r>
            <a:endParaRPr lang="en-GB" sz="1067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F9FE41-C8F9-47EF-94C3-C489748B47D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89647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ivid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304000"/>
            <a:ext cx="12192000" cy="455400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6000" y="932987"/>
            <a:ext cx="11520000" cy="120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6000" y="2635200"/>
            <a:ext cx="11520000" cy="35088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bg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6314365"/>
            <a:ext cx="12192000" cy="5436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0" rIns="480000" rtlCol="0" anchor="ctr"/>
          <a:lstStyle/>
          <a:p>
            <a:pPr algn="l" defTabSz="601118">
              <a:tabLst/>
            </a:pPr>
            <a:r>
              <a:rPr lang="fr-BE" sz="1067">
                <a:solidFill>
                  <a:schemeClr val="bg2"/>
                </a:solidFill>
              </a:rPr>
              <a:t>	</a:t>
            </a:r>
            <a:endParaRPr lang="en-GB" sz="1067">
              <a:solidFill>
                <a:schemeClr val="bg2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F9FE41-C8F9-47EF-94C3-C489748B47D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53523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3AB718E9-3F82-424E-ABA2-5A9383359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215059" cy="687097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6000" y="931200"/>
            <a:ext cx="6688048" cy="1543595"/>
          </a:xfrm>
        </p:spPr>
        <p:txBody>
          <a:bodyPr anchor="b">
            <a:normAutofit/>
          </a:bodyPr>
          <a:lstStyle>
            <a:lvl1pPr algn="l">
              <a:defRPr sz="4267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6000" y="2838735"/>
            <a:ext cx="5778197" cy="2419065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314365"/>
            <a:ext cx="12192000" cy="5436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0" rIns="480000" rtlCol="0" anchor="ctr"/>
          <a:lstStyle/>
          <a:p>
            <a:pPr algn="l" defTabSz="601118">
              <a:tabLst/>
            </a:pPr>
            <a:r>
              <a:rPr lang="fr-BE" sz="1067">
                <a:solidFill>
                  <a:schemeClr val="bg2"/>
                </a:solidFill>
              </a:rPr>
              <a:t>www.metoffice.gov.uk	</a:t>
            </a:r>
            <a:endParaRPr lang="en-GB" sz="1067">
              <a:solidFill>
                <a:schemeClr val="bg2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5622877" y="6314365"/>
            <a:ext cx="6569123" cy="5436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0" rIns="480000" rtlCol="0" anchor="ctr"/>
          <a:lstStyle/>
          <a:p>
            <a:pPr algn="r" defTabSz="601118">
              <a:tabLst/>
            </a:pPr>
            <a:r>
              <a:rPr lang="fr-BE" sz="1067">
                <a:solidFill>
                  <a:schemeClr val="bg2"/>
                </a:solidFill>
              </a:rPr>
              <a:t>© Crown Copyright</a:t>
            </a:r>
            <a:r>
              <a:rPr lang="fr-BE" sz="1067" baseline="0">
                <a:solidFill>
                  <a:schemeClr val="bg2"/>
                </a:solidFill>
              </a:rPr>
              <a:t> 2020, Met Office</a:t>
            </a:r>
            <a:endParaRPr lang="en-GB" sz="1067">
              <a:solidFill>
                <a:schemeClr val="bg2"/>
              </a:solidFill>
            </a:endParaRPr>
          </a:p>
        </p:txBody>
      </p:sp>
      <p:pic>
        <p:nvPicPr>
          <p:cNvPr id="10" name="MO_MASTER_for_dark_backg_RBG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244800" y="72000"/>
            <a:ext cx="2405040" cy="7542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525266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ivider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304000"/>
            <a:ext cx="12192000" cy="4554000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6000" y="932987"/>
            <a:ext cx="11520000" cy="120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6000" y="2635200"/>
            <a:ext cx="11520000" cy="3508800"/>
          </a:xfrm>
        </p:spPr>
        <p:txBody>
          <a:bodyPr/>
          <a:lstStyle>
            <a:lvl1pPr marL="0" indent="0">
              <a:buNone/>
              <a:defRPr baseline="0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6314365"/>
            <a:ext cx="12192000" cy="5436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0" rIns="480000" rtlCol="0" anchor="ctr"/>
          <a:lstStyle/>
          <a:p>
            <a:pPr algn="l" defTabSz="601118">
              <a:tabLst/>
            </a:pPr>
            <a:r>
              <a:rPr lang="fr-BE" sz="1067">
                <a:solidFill>
                  <a:schemeClr val="tx1"/>
                </a:solidFill>
              </a:rPr>
              <a:t>	</a:t>
            </a:r>
            <a:endParaRPr lang="en-GB" sz="1067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F9FE41-C8F9-47EF-94C3-C489748B47D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16088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ivider -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304000"/>
            <a:ext cx="12192000" cy="4554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6000" y="932987"/>
            <a:ext cx="11520000" cy="120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6000" y="2635200"/>
            <a:ext cx="11520000" cy="3508800"/>
          </a:xfrm>
        </p:spPr>
        <p:txBody>
          <a:bodyPr/>
          <a:lstStyle>
            <a:lvl1pPr marL="0" indent="0">
              <a:buNone/>
              <a:defRPr baseline="0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6314365"/>
            <a:ext cx="12192000" cy="5436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0" rIns="480000" rtlCol="0" anchor="ctr"/>
          <a:lstStyle/>
          <a:p>
            <a:pPr algn="l" defTabSz="601118">
              <a:tabLst/>
            </a:pPr>
            <a:r>
              <a:rPr lang="fr-BE" sz="1067">
                <a:solidFill>
                  <a:schemeClr val="tx1"/>
                </a:solidFill>
              </a:rPr>
              <a:t>	</a:t>
            </a:r>
            <a:endParaRPr lang="en-GB" sz="1067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F9FE41-C8F9-47EF-94C3-C489748B47D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44081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430124"/>
            <a:ext cx="12192000" cy="4554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GB" sz="2667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6000" y="932986"/>
            <a:ext cx="11520000" cy="120064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Questions?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6436285"/>
            <a:ext cx="12192000" cy="5436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0" rIns="480000" rtlCol="0" anchor="ctr"/>
          <a:lstStyle/>
          <a:p>
            <a:pPr algn="l" defTabSz="601118">
              <a:tabLst/>
            </a:pPr>
            <a:r>
              <a:rPr lang="fr-BE" sz="1067">
                <a:solidFill>
                  <a:schemeClr val="tx1"/>
                </a:solidFill>
              </a:rPr>
              <a:t>www.metoffice.gov.uk	</a:t>
            </a:r>
            <a:endParaRPr lang="en-GB" sz="1067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5622877" y="6436285"/>
            <a:ext cx="6569123" cy="5436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0" rIns="480000" rtlCol="0" anchor="ctr"/>
          <a:lstStyle/>
          <a:p>
            <a:pPr algn="r" defTabSz="601118">
              <a:tabLst/>
            </a:pPr>
            <a:r>
              <a:rPr lang="fr-BE" sz="1067">
                <a:solidFill>
                  <a:schemeClr val="tx1"/>
                </a:solidFill>
              </a:rPr>
              <a:t>© Crown Copyright</a:t>
            </a:r>
            <a:r>
              <a:rPr lang="fr-BE" sz="1067" baseline="0">
                <a:solidFill>
                  <a:schemeClr val="tx1"/>
                </a:solidFill>
              </a:rPr>
              <a:t> 2020, Met Office</a:t>
            </a:r>
            <a:endParaRPr lang="en-GB" sz="1067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328939" y="2688230"/>
            <a:ext cx="11520000" cy="4205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fr-BE" sz="2133"/>
              <a:t>For more information </a:t>
            </a:r>
            <a:r>
              <a:rPr lang="fr-BE" sz="2133" err="1"/>
              <a:t>please</a:t>
            </a:r>
            <a:r>
              <a:rPr lang="fr-BE" sz="2133"/>
              <a:t> contact</a:t>
            </a:r>
            <a:endParaRPr lang="en-GB" sz="2133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048939" y="5325704"/>
            <a:ext cx="10800000" cy="480000"/>
          </a:xfrm>
        </p:spPr>
        <p:txBody>
          <a:bodyPr anchor="ctr">
            <a:normAutofit/>
          </a:bodyPr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en-US"/>
              <a:t>Insert phone number here</a:t>
            </a:r>
            <a:endParaRPr lang="en-GB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1048939" y="4411643"/>
            <a:ext cx="10800000" cy="480000"/>
          </a:xfrm>
        </p:spPr>
        <p:txBody>
          <a:bodyPr anchor="ctr">
            <a:normAutofit/>
          </a:bodyPr>
          <a:lstStyle>
            <a:lvl1pPr marL="0" indent="0">
              <a:buNone/>
              <a:defRPr sz="2133"/>
            </a:lvl1pPr>
          </a:lstStyle>
          <a:p>
            <a:pPr lvl="0"/>
            <a:r>
              <a:rPr lang="en-US"/>
              <a:t>Insert e-mail here</a:t>
            </a:r>
            <a:endParaRPr lang="en-GB"/>
          </a:p>
        </p:txBody>
      </p:sp>
      <p:pic>
        <p:nvPicPr>
          <p:cNvPr id="16" name="email-icon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05549" y="4390891"/>
            <a:ext cx="476903" cy="52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7" name="phone-icon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467226" y="5292037"/>
            <a:ext cx="553548" cy="52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8" name="web-icon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432001" y="3489743"/>
            <a:ext cx="623999" cy="52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DF812764-35C6-4759-8316-7323965CEE1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48939" y="3503788"/>
            <a:ext cx="10800000" cy="480000"/>
          </a:xfrm>
        </p:spPr>
        <p:txBody>
          <a:bodyPr anchor="ctr">
            <a:normAutofit/>
          </a:bodyPr>
          <a:lstStyle>
            <a:lvl1pPr marL="0" indent="0">
              <a:buNone/>
              <a:defRPr sz="2133"/>
            </a:lvl1pPr>
          </a:lstStyle>
          <a:p>
            <a:pPr lvl="0"/>
            <a:r>
              <a:rPr lang="en-US"/>
              <a:t>www.metoffice.gov.uk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53257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- 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2567609" y="116633"/>
            <a:ext cx="9217025" cy="647700"/>
          </a:xfrm>
          <a:prstGeom prst="rect">
            <a:avLst/>
          </a:prstGeom>
        </p:spPr>
        <p:txBody>
          <a:bodyPr anchor="ctr"/>
          <a:lstStyle>
            <a:lvl1pPr>
              <a:defRPr sz="20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459596" y="116633"/>
            <a:ext cx="0" cy="6477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E7861B00-076B-4E0A-BE9F-A9547C99B15A}"/>
              </a:ext>
            </a:extLst>
          </p:cNvPr>
          <p:cNvSpPr txBox="1"/>
          <p:nvPr userDrawn="1"/>
        </p:nvSpPr>
        <p:spPr>
          <a:xfrm>
            <a:off x="10063480" y="6461761"/>
            <a:ext cx="1910080" cy="342900"/>
          </a:xfrm>
          <a:prstGeom prst="rect">
            <a:avLst/>
          </a:prstGeom>
          <a:solidFill>
            <a:srgbClr val="B9DC0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36000" tIns="36000" rIns="36000" bIns="36000" numCol="1" spcCol="38100" rtlCol="0" anchor="t">
            <a:noAutofit/>
          </a:bodyPr>
          <a:lstStyle/>
          <a:p>
            <a:pPr marR="0" algn="l" defTabSz="58418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kumimoji="0" lang="en-GB" sz="900" b="0" i="0" u="none" strike="noStrike" cap="none" spc="0" normalizeH="0" baseline="0">
                <a:ln>
                  <a:noFill/>
                </a:ln>
                <a:solidFill>
                  <a:srgbClr val="2A2A2A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Crown Copyright 2020, Met Office</a:t>
            </a:r>
          </a:p>
        </p:txBody>
      </p:sp>
    </p:spTree>
    <p:extLst>
      <p:ext uri="{BB962C8B-B14F-4D97-AF65-F5344CB8AC3E}">
        <p14:creationId xmlns:p14="http://schemas.microsoft.com/office/powerpoint/2010/main" val="25379951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ver-backg-2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215059" cy="6870971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6000" y="931200"/>
            <a:ext cx="11520000" cy="1543595"/>
          </a:xfrm>
        </p:spPr>
        <p:txBody>
          <a:bodyPr anchor="b">
            <a:normAutofit/>
          </a:bodyPr>
          <a:lstStyle>
            <a:lvl1pPr algn="l">
              <a:defRPr sz="4267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6000" y="2838735"/>
            <a:ext cx="11520000" cy="2419065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314365"/>
            <a:ext cx="12192000" cy="5436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0" rIns="480000" rtlCol="0" anchor="ctr"/>
          <a:lstStyle/>
          <a:p>
            <a:pPr algn="l" defTabSz="601118">
              <a:tabLst/>
            </a:pPr>
            <a:r>
              <a:rPr lang="fr-BE" sz="1067">
                <a:solidFill>
                  <a:schemeClr val="bg2"/>
                </a:solidFill>
              </a:rPr>
              <a:t>www.metoffice.gov.uk	</a:t>
            </a:r>
            <a:endParaRPr lang="en-GB" sz="1067">
              <a:solidFill>
                <a:schemeClr val="bg2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5622877" y="6314365"/>
            <a:ext cx="6569123" cy="5436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0" rIns="480000" rtlCol="0" anchor="ctr"/>
          <a:lstStyle/>
          <a:p>
            <a:pPr algn="r" defTabSz="601118">
              <a:tabLst/>
            </a:pPr>
            <a:r>
              <a:rPr lang="fr-BE" sz="1067">
                <a:solidFill>
                  <a:schemeClr val="bg2"/>
                </a:solidFill>
              </a:rPr>
              <a:t>© Crown Copyright</a:t>
            </a:r>
            <a:r>
              <a:rPr lang="fr-BE" sz="1067" baseline="0">
                <a:solidFill>
                  <a:schemeClr val="bg2"/>
                </a:solidFill>
              </a:rPr>
              <a:t> 2020, Met Office</a:t>
            </a:r>
            <a:endParaRPr lang="en-GB" sz="1067">
              <a:solidFill>
                <a:schemeClr val="bg2"/>
              </a:solidFill>
            </a:endParaRPr>
          </a:p>
        </p:txBody>
      </p:sp>
      <p:pic>
        <p:nvPicPr>
          <p:cNvPr id="10" name="MO_MASTER_for_dark_backg_RBG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244800" y="72000"/>
            <a:ext cx="2405040" cy="7542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284236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6000" y="931200"/>
            <a:ext cx="11520000" cy="1543595"/>
          </a:xfrm>
        </p:spPr>
        <p:txBody>
          <a:bodyPr anchor="b">
            <a:normAutofit/>
          </a:bodyPr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6000" y="2838735"/>
            <a:ext cx="11520000" cy="2419065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5622877" y="6314365"/>
            <a:ext cx="6569123" cy="5436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0" rIns="480000" rtlCol="0" anchor="ctr"/>
          <a:lstStyle/>
          <a:p>
            <a:pPr algn="r" defTabSz="601118">
              <a:tabLst/>
            </a:pPr>
            <a:r>
              <a:rPr lang="fr-BE" sz="1067">
                <a:solidFill>
                  <a:schemeClr val="tx1"/>
                </a:solidFill>
              </a:rPr>
              <a:t>© Crown Copyright</a:t>
            </a:r>
            <a:r>
              <a:rPr lang="fr-BE" sz="1067" baseline="0">
                <a:solidFill>
                  <a:schemeClr val="tx1"/>
                </a:solidFill>
              </a:rPr>
              <a:t> 2020, Met Office</a:t>
            </a:r>
            <a:endParaRPr lang="en-GB" sz="1067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6314365"/>
            <a:ext cx="12192000" cy="5436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0" rIns="480000" rtlCol="0" anchor="ctr"/>
          <a:lstStyle/>
          <a:p>
            <a:pPr algn="l" defTabSz="601118">
              <a:tabLst/>
            </a:pPr>
            <a:r>
              <a:rPr lang="fr-BE" sz="1067">
                <a:solidFill>
                  <a:schemeClr val="tx1"/>
                </a:solidFill>
              </a:rPr>
              <a:t>www.metoffice.gov.uk</a:t>
            </a:r>
            <a:r>
              <a:rPr lang="fr-BE" sz="1067">
                <a:solidFill>
                  <a:schemeClr val="bg2"/>
                </a:solidFill>
              </a:rPr>
              <a:t>	</a:t>
            </a:r>
            <a:endParaRPr lang="en-GB" sz="1067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1562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6000" y="931200"/>
            <a:ext cx="11520000" cy="1543595"/>
          </a:xfrm>
        </p:spPr>
        <p:txBody>
          <a:bodyPr anchor="b">
            <a:normAutofit/>
          </a:bodyPr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6000" y="2838735"/>
            <a:ext cx="11520000" cy="2419065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5622877" y="6314365"/>
            <a:ext cx="6569123" cy="5436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0" rIns="480000" rtlCol="0" anchor="ctr"/>
          <a:lstStyle/>
          <a:p>
            <a:pPr algn="r" defTabSz="601118">
              <a:tabLst/>
            </a:pPr>
            <a:r>
              <a:rPr lang="fr-BE" sz="1067">
                <a:solidFill>
                  <a:schemeClr val="tx1"/>
                </a:solidFill>
              </a:rPr>
              <a:t>© Crown Copyright</a:t>
            </a:r>
            <a:r>
              <a:rPr lang="fr-BE" sz="1067" baseline="0">
                <a:solidFill>
                  <a:schemeClr val="tx1"/>
                </a:solidFill>
              </a:rPr>
              <a:t> 2020, Met Office</a:t>
            </a:r>
            <a:endParaRPr lang="en-GB" sz="1067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6314365"/>
            <a:ext cx="12192000" cy="5436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0" rIns="480000" rtlCol="0" anchor="ctr"/>
          <a:lstStyle/>
          <a:p>
            <a:pPr algn="l" defTabSz="601118">
              <a:tabLst/>
            </a:pPr>
            <a:r>
              <a:rPr lang="fr-BE" sz="1067">
                <a:solidFill>
                  <a:schemeClr val="tx1"/>
                </a:solidFill>
              </a:rPr>
              <a:t>www.metoffice.gov.uk</a:t>
            </a:r>
            <a:r>
              <a:rPr lang="fr-BE" sz="1067">
                <a:solidFill>
                  <a:schemeClr val="bg2"/>
                </a:solidFill>
              </a:rPr>
              <a:t>	</a:t>
            </a:r>
            <a:endParaRPr lang="en-GB" sz="1067">
              <a:solidFill>
                <a:schemeClr val="bg2"/>
              </a:solidFill>
            </a:endParaRPr>
          </a:p>
        </p:txBody>
      </p:sp>
      <p:sp>
        <p:nvSpPr>
          <p:cNvPr id="7" name="Shape 48"/>
          <p:cNvSpPr/>
          <p:nvPr userDrawn="1"/>
        </p:nvSpPr>
        <p:spPr>
          <a:xfrm>
            <a:off x="-2" y="-8012"/>
            <a:ext cx="12192003" cy="916856"/>
          </a:xfrm>
          <a:prstGeom prst="rect">
            <a:avLst/>
          </a:prstGeom>
          <a:blipFill>
            <a:blip r:embed="rId2" cstate="print"/>
          </a:blip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5719" tIns="35719" rIns="35719" bIns="35719" anchor="ctr"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pPr marL="0" marR="0" lvl="0" indent="0" algn="ctr" defTabSz="29209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sym typeface="Helvetica Light"/>
              </a:rPr>
              <a:t>  </a:t>
            </a:r>
          </a:p>
        </p:txBody>
      </p:sp>
      <p:pic>
        <p:nvPicPr>
          <p:cNvPr id="9" name="MO_MASTER_for_dark_backg_RBG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244800" y="72000"/>
            <a:ext cx="2405040" cy="7542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204208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op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6000" y="931200"/>
            <a:ext cx="11520000" cy="1543595"/>
          </a:xfrm>
        </p:spPr>
        <p:txBody>
          <a:bodyPr anchor="b">
            <a:normAutofit/>
          </a:bodyPr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6000" y="2838735"/>
            <a:ext cx="11520000" cy="2419065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hape 64"/>
          <p:cNvSpPr/>
          <p:nvPr userDrawn="1"/>
        </p:nvSpPr>
        <p:spPr>
          <a:xfrm flipV="1">
            <a:off x="2855913" y="180000"/>
            <a:ext cx="0" cy="54000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35719" tIns="35719" rIns="35719" bIns="35719" anchor="ctr"/>
          <a:lstStyle/>
          <a:p>
            <a:pPr marL="0" marR="0" lvl="0" indent="0" algn="ctr" defTabSz="29209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2A2A2A"/>
              </a:solidFill>
              <a:effectLst/>
              <a:uLnTx/>
              <a:uFillTx/>
              <a:latin typeface="Arial"/>
              <a:sym typeface="Helvetica Light"/>
            </a:endParaRPr>
          </a:p>
        </p:txBody>
      </p:sp>
      <p:sp>
        <p:nvSpPr>
          <p:cNvPr id="5" name="Shape 68"/>
          <p:cNvSpPr/>
          <p:nvPr userDrawn="1"/>
        </p:nvSpPr>
        <p:spPr>
          <a:xfrm>
            <a:off x="10041453" y="272735"/>
            <a:ext cx="1814548" cy="360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5719" tIns="35719" rIns="35719" bIns="35719"/>
          <a:lstStyle/>
          <a:p>
            <a:pPr marL="0" marR="0" lvl="0" indent="0" algn="l" defTabSz="457189" rtl="0" eaLnBrk="1" fontAlgn="auto" latinLnBrk="0" hangingPunc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100">
                <a:solidFill>
                  <a:srgbClr val="2A2A2A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kumimoji="0" sz="1067" b="0" i="0" u="none" strike="noStrike" kern="0" cap="none" spc="0" normalizeH="0" baseline="0" noProof="0">
                <a:ln>
                  <a:noFill/>
                </a:ln>
                <a:solidFill>
                  <a:srgbClr val="2A2A2A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Working together </a:t>
            </a:r>
            <a:br>
              <a:rPr kumimoji="0" sz="1067" b="0" i="0" u="none" strike="noStrike" kern="0" cap="none" spc="0" normalizeH="0" baseline="0" noProof="0">
                <a:ln>
                  <a:noFill/>
                </a:ln>
                <a:solidFill>
                  <a:srgbClr val="2A2A2A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</a:br>
            <a:r>
              <a:rPr kumimoji="0" sz="1067" b="0" i="0" u="none" strike="noStrike" kern="0" cap="none" spc="0" normalizeH="0" baseline="0" noProof="0">
                <a:ln>
                  <a:noFill/>
                </a:ln>
                <a:solidFill>
                  <a:srgbClr val="2A2A2A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(enter working relationship)</a:t>
            </a:r>
          </a:p>
        </p:txBody>
      </p:sp>
      <p:sp>
        <p:nvSpPr>
          <p:cNvPr id="6" name="Shape 69"/>
          <p:cNvSpPr>
            <a:spLocks noGrp="1"/>
          </p:cNvSpPr>
          <p:nvPr>
            <p:ph type="pic" sz="quarter" idx="13"/>
          </p:nvPr>
        </p:nvSpPr>
        <p:spPr>
          <a:xfrm>
            <a:off x="2969561" y="272735"/>
            <a:ext cx="1568168" cy="360000"/>
          </a:xfrm>
          <a:prstGeom prst="rect">
            <a:avLst/>
          </a:prstGeom>
          <a:noFill/>
          <a:ln>
            <a:noFill/>
          </a:ln>
        </p:spPr>
        <p:txBody>
          <a:bodyPr wrap="square" lIns="68579" tIns="34289" rIns="68579" bIns="34289" anchor="t">
            <a:noAutofit/>
          </a:bodyPr>
          <a:lstStyle>
            <a:lvl1pPr marL="0" indent="0">
              <a:buNone/>
              <a:defRPr sz="1067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Shape 70"/>
          <p:cNvSpPr>
            <a:spLocks noGrp="1"/>
          </p:cNvSpPr>
          <p:nvPr>
            <p:ph type="pic" sz="quarter" idx="14"/>
          </p:nvPr>
        </p:nvSpPr>
        <p:spPr>
          <a:xfrm>
            <a:off x="4770581" y="272735"/>
            <a:ext cx="1568169" cy="360000"/>
          </a:xfrm>
          <a:prstGeom prst="rect">
            <a:avLst/>
          </a:prstGeom>
          <a:noFill/>
          <a:ln>
            <a:noFill/>
          </a:ln>
        </p:spPr>
        <p:txBody>
          <a:bodyPr lIns="68579" tIns="34289" rIns="68579" bIns="34289" anchor="t">
            <a:noAutofit/>
          </a:bodyPr>
          <a:lstStyle>
            <a:lvl1pPr marL="0" indent="0">
              <a:buNone/>
              <a:defRPr sz="1067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Shape 71"/>
          <p:cNvSpPr>
            <a:spLocks noGrp="1"/>
          </p:cNvSpPr>
          <p:nvPr>
            <p:ph type="pic" sz="quarter" idx="15"/>
          </p:nvPr>
        </p:nvSpPr>
        <p:spPr>
          <a:xfrm>
            <a:off x="6570805" y="272735"/>
            <a:ext cx="1568169" cy="360000"/>
          </a:xfrm>
          <a:prstGeom prst="rect">
            <a:avLst/>
          </a:prstGeom>
          <a:noFill/>
          <a:ln>
            <a:noFill/>
          </a:ln>
        </p:spPr>
        <p:txBody>
          <a:bodyPr lIns="68579" tIns="34289" rIns="68579" bIns="34289" anchor="t">
            <a:noAutofit/>
          </a:bodyPr>
          <a:lstStyle>
            <a:lvl1pPr marL="0" indent="0">
              <a:buNone/>
              <a:defRPr sz="1067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Shape 64"/>
          <p:cNvSpPr/>
          <p:nvPr userDrawn="1"/>
        </p:nvSpPr>
        <p:spPr>
          <a:xfrm flipV="1">
            <a:off x="4654551" y="180000"/>
            <a:ext cx="0" cy="54000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35719" tIns="35719" rIns="35719" bIns="35719" anchor="ctr"/>
          <a:lstStyle/>
          <a:p>
            <a:pPr marL="0" marR="0" lvl="0" indent="0" algn="ctr" defTabSz="29209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2A2A2A"/>
              </a:solidFill>
              <a:effectLst/>
              <a:uLnTx/>
              <a:uFillTx/>
              <a:latin typeface="Arial"/>
              <a:sym typeface="Helvetica Light"/>
            </a:endParaRPr>
          </a:p>
        </p:txBody>
      </p:sp>
      <p:sp>
        <p:nvSpPr>
          <p:cNvPr id="10" name="Shape 64"/>
          <p:cNvSpPr/>
          <p:nvPr userDrawn="1"/>
        </p:nvSpPr>
        <p:spPr>
          <a:xfrm flipV="1">
            <a:off x="6456363" y="180000"/>
            <a:ext cx="0" cy="54000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35719" tIns="35719" rIns="35719" bIns="35719" anchor="ctr"/>
          <a:lstStyle/>
          <a:p>
            <a:pPr marL="0" marR="0" lvl="0" indent="0" algn="ctr" defTabSz="29209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2A2A2A"/>
              </a:solidFill>
              <a:effectLst/>
              <a:uLnTx/>
              <a:uFillTx/>
              <a:latin typeface="Arial"/>
              <a:sym typeface="Helvetica Light"/>
            </a:endParaRPr>
          </a:p>
        </p:txBody>
      </p:sp>
      <p:sp>
        <p:nvSpPr>
          <p:cNvPr id="11" name="Shape 64"/>
          <p:cNvSpPr/>
          <p:nvPr userDrawn="1"/>
        </p:nvSpPr>
        <p:spPr>
          <a:xfrm flipV="1">
            <a:off x="8256588" y="180000"/>
            <a:ext cx="0" cy="54000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35719" tIns="35719" rIns="35719" bIns="35719" anchor="ctr"/>
          <a:lstStyle/>
          <a:p>
            <a:pPr marL="0" marR="0" lvl="0" indent="0" algn="ctr" defTabSz="29209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2A2A2A"/>
              </a:solidFill>
              <a:effectLst/>
              <a:uLnTx/>
              <a:uFillTx/>
              <a:latin typeface="Arial"/>
              <a:sym typeface="Helvetica Light"/>
            </a:endParaRPr>
          </a:p>
        </p:txBody>
      </p:sp>
      <p:sp>
        <p:nvSpPr>
          <p:cNvPr id="12" name="Shape 71"/>
          <p:cNvSpPr>
            <a:spLocks noGrp="1"/>
          </p:cNvSpPr>
          <p:nvPr>
            <p:ph type="pic" sz="quarter" idx="17"/>
          </p:nvPr>
        </p:nvSpPr>
        <p:spPr>
          <a:xfrm>
            <a:off x="8364937" y="272735"/>
            <a:ext cx="1568169" cy="360000"/>
          </a:xfrm>
          <a:prstGeom prst="rect">
            <a:avLst/>
          </a:prstGeom>
          <a:noFill/>
          <a:ln>
            <a:noFill/>
          </a:ln>
        </p:spPr>
        <p:txBody>
          <a:bodyPr lIns="68579" tIns="34289" rIns="68579" bIns="34289" anchor="t">
            <a:noAutofit/>
          </a:bodyPr>
          <a:lstStyle>
            <a:lvl1pPr marL="0" indent="0">
              <a:buNone/>
              <a:defRPr sz="1067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3" name="Rectangle 12"/>
          <p:cNvSpPr/>
          <p:nvPr userDrawn="1"/>
        </p:nvSpPr>
        <p:spPr>
          <a:xfrm>
            <a:off x="0" y="6314365"/>
            <a:ext cx="12192000" cy="5436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0" rIns="480000" rtlCol="0" anchor="ctr"/>
          <a:lstStyle/>
          <a:p>
            <a:pPr algn="l" defTabSz="601118">
              <a:tabLst/>
            </a:pPr>
            <a:r>
              <a:rPr lang="fr-BE" sz="1067">
                <a:solidFill>
                  <a:schemeClr val="tx1"/>
                </a:solidFill>
              </a:rPr>
              <a:t>www.metoffice.gov.uk</a:t>
            </a:r>
            <a:r>
              <a:rPr lang="fr-BE" sz="1067">
                <a:solidFill>
                  <a:schemeClr val="bg2"/>
                </a:solidFill>
              </a:rPr>
              <a:t>	</a:t>
            </a:r>
            <a:endParaRPr lang="en-GB" sz="1067">
              <a:solidFill>
                <a:schemeClr val="bg2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5622877" y="6314365"/>
            <a:ext cx="6569123" cy="5436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0" rIns="480000" rtlCol="0" anchor="ctr"/>
          <a:lstStyle/>
          <a:p>
            <a:pPr algn="r" defTabSz="601118">
              <a:tabLst/>
            </a:pPr>
            <a:r>
              <a:rPr lang="fr-BE" sz="1067">
                <a:solidFill>
                  <a:schemeClr val="tx1"/>
                </a:solidFill>
              </a:rPr>
              <a:t>© Crown Copyright</a:t>
            </a:r>
            <a:r>
              <a:rPr lang="fr-BE" sz="1067" baseline="0">
                <a:solidFill>
                  <a:schemeClr val="tx1"/>
                </a:solidFill>
              </a:rPr>
              <a:t> 2020, Met Office</a:t>
            </a:r>
            <a:endParaRPr lang="en-GB" sz="1067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8953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op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48"/>
          <p:cNvSpPr/>
          <p:nvPr userDrawn="1"/>
        </p:nvSpPr>
        <p:spPr>
          <a:xfrm>
            <a:off x="-2" y="-8012"/>
            <a:ext cx="12192003" cy="916856"/>
          </a:xfrm>
          <a:prstGeom prst="rect">
            <a:avLst/>
          </a:prstGeom>
          <a:blipFill>
            <a:blip r:embed="rId2" cstate="print"/>
          </a:blip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5719" tIns="35719" rIns="35719" bIns="35719" anchor="ctr"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pPr marL="0" marR="0" lvl="0" indent="0" algn="ctr" defTabSz="29209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sym typeface="Helvetica Light"/>
              </a:rPr>
              <a:t> 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6000" y="931200"/>
            <a:ext cx="11520000" cy="1543595"/>
          </a:xfrm>
        </p:spPr>
        <p:txBody>
          <a:bodyPr anchor="b">
            <a:normAutofit/>
          </a:bodyPr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6000" y="2838735"/>
            <a:ext cx="11520000" cy="2419065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hape 64"/>
          <p:cNvSpPr/>
          <p:nvPr userDrawn="1"/>
        </p:nvSpPr>
        <p:spPr>
          <a:xfrm flipV="1">
            <a:off x="2855913" y="180000"/>
            <a:ext cx="0" cy="540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35719" tIns="35719" rIns="35719" bIns="35719" anchor="ctr"/>
          <a:lstStyle/>
          <a:p>
            <a:pPr marL="0" marR="0" lvl="0" indent="0" algn="ctr" defTabSz="29209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2A2A2A"/>
              </a:solidFill>
              <a:effectLst/>
              <a:uLnTx/>
              <a:uFillTx/>
              <a:latin typeface="Arial"/>
              <a:sym typeface="Helvetica Light"/>
            </a:endParaRPr>
          </a:p>
        </p:txBody>
      </p:sp>
      <p:sp>
        <p:nvSpPr>
          <p:cNvPr id="6" name="Shape 69"/>
          <p:cNvSpPr>
            <a:spLocks noGrp="1"/>
          </p:cNvSpPr>
          <p:nvPr>
            <p:ph type="pic" sz="quarter" idx="13"/>
          </p:nvPr>
        </p:nvSpPr>
        <p:spPr>
          <a:xfrm>
            <a:off x="2969561" y="272735"/>
            <a:ext cx="1568168" cy="360000"/>
          </a:xfrm>
          <a:prstGeom prst="rect">
            <a:avLst/>
          </a:prstGeom>
          <a:noFill/>
          <a:ln>
            <a:noFill/>
          </a:ln>
        </p:spPr>
        <p:txBody>
          <a:bodyPr wrap="square" lIns="68579" tIns="34289" rIns="68579" bIns="34289" anchor="t">
            <a:noAutofit/>
          </a:bodyPr>
          <a:lstStyle>
            <a:lvl1pPr marL="0" indent="0">
              <a:buNone/>
              <a:defRPr sz="1067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Shape 70"/>
          <p:cNvSpPr>
            <a:spLocks noGrp="1"/>
          </p:cNvSpPr>
          <p:nvPr>
            <p:ph type="pic" sz="quarter" idx="14"/>
          </p:nvPr>
        </p:nvSpPr>
        <p:spPr>
          <a:xfrm>
            <a:off x="4770581" y="272735"/>
            <a:ext cx="1568169" cy="360000"/>
          </a:xfrm>
          <a:prstGeom prst="rect">
            <a:avLst/>
          </a:prstGeom>
          <a:noFill/>
          <a:ln>
            <a:noFill/>
          </a:ln>
        </p:spPr>
        <p:txBody>
          <a:bodyPr lIns="68579" tIns="34289" rIns="68579" bIns="34289" anchor="t">
            <a:noAutofit/>
          </a:bodyPr>
          <a:lstStyle>
            <a:lvl1pPr marL="0" indent="0">
              <a:buNone/>
              <a:defRPr sz="1067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Shape 71"/>
          <p:cNvSpPr>
            <a:spLocks noGrp="1"/>
          </p:cNvSpPr>
          <p:nvPr>
            <p:ph type="pic" sz="quarter" idx="15"/>
          </p:nvPr>
        </p:nvSpPr>
        <p:spPr>
          <a:xfrm>
            <a:off x="6570805" y="272735"/>
            <a:ext cx="1568169" cy="360000"/>
          </a:xfrm>
          <a:prstGeom prst="rect">
            <a:avLst/>
          </a:prstGeom>
          <a:noFill/>
          <a:ln>
            <a:noFill/>
          </a:ln>
        </p:spPr>
        <p:txBody>
          <a:bodyPr lIns="68579" tIns="34289" rIns="68579" bIns="34289" anchor="t">
            <a:noAutofit/>
          </a:bodyPr>
          <a:lstStyle>
            <a:lvl1pPr marL="0" indent="0">
              <a:buNone/>
              <a:defRPr sz="1067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Shape 64"/>
          <p:cNvSpPr/>
          <p:nvPr userDrawn="1"/>
        </p:nvSpPr>
        <p:spPr>
          <a:xfrm flipV="1">
            <a:off x="4654551" y="180000"/>
            <a:ext cx="0" cy="540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35719" tIns="35719" rIns="35719" bIns="35719" anchor="ctr"/>
          <a:lstStyle/>
          <a:p>
            <a:pPr marL="0" marR="0" lvl="0" indent="0" algn="ctr" defTabSz="29209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2A2A2A"/>
              </a:solidFill>
              <a:effectLst/>
              <a:uLnTx/>
              <a:uFillTx/>
              <a:latin typeface="Arial"/>
              <a:sym typeface="Helvetica Light"/>
            </a:endParaRPr>
          </a:p>
        </p:txBody>
      </p:sp>
      <p:sp>
        <p:nvSpPr>
          <p:cNvPr id="10" name="Shape 64"/>
          <p:cNvSpPr/>
          <p:nvPr userDrawn="1"/>
        </p:nvSpPr>
        <p:spPr>
          <a:xfrm flipV="1">
            <a:off x="6456363" y="180000"/>
            <a:ext cx="0" cy="540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35719" tIns="35719" rIns="35719" bIns="35719" anchor="ctr"/>
          <a:lstStyle/>
          <a:p>
            <a:pPr marL="0" marR="0" lvl="0" indent="0" algn="ctr" defTabSz="29209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2A2A2A"/>
              </a:solidFill>
              <a:effectLst/>
              <a:uLnTx/>
              <a:uFillTx/>
              <a:latin typeface="Arial"/>
              <a:sym typeface="Helvetica Light"/>
            </a:endParaRPr>
          </a:p>
        </p:txBody>
      </p:sp>
      <p:sp>
        <p:nvSpPr>
          <p:cNvPr id="11" name="Shape 64"/>
          <p:cNvSpPr/>
          <p:nvPr userDrawn="1"/>
        </p:nvSpPr>
        <p:spPr>
          <a:xfrm flipV="1">
            <a:off x="8256588" y="180000"/>
            <a:ext cx="0" cy="540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35719" tIns="35719" rIns="35719" bIns="35719" anchor="ctr"/>
          <a:lstStyle/>
          <a:p>
            <a:pPr marL="0" marR="0" lvl="0" indent="0" algn="ctr" defTabSz="29209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2A2A2A"/>
              </a:solidFill>
              <a:effectLst/>
              <a:uLnTx/>
              <a:uFillTx/>
              <a:latin typeface="Arial"/>
              <a:sym typeface="Helvetica Light"/>
            </a:endParaRPr>
          </a:p>
        </p:txBody>
      </p:sp>
      <p:sp>
        <p:nvSpPr>
          <p:cNvPr id="12" name="Shape 71"/>
          <p:cNvSpPr>
            <a:spLocks noGrp="1"/>
          </p:cNvSpPr>
          <p:nvPr>
            <p:ph type="pic" sz="quarter" idx="17"/>
          </p:nvPr>
        </p:nvSpPr>
        <p:spPr>
          <a:xfrm>
            <a:off x="8364937" y="272735"/>
            <a:ext cx="1568169" cy="360000"/>
          </a:xfrm>
          <a:prstGeom prst="rect">
            <a:avLst/>
          </a:prstGeom>
          <a:noFill/>
          <a:ln>
            <a:noFill/>
          </a:ln>
        </p:spPr>
        <p:txBody>
          <a:bodyPr lIns="68579" tIns="34289" rIns="68579" bIns="34289" anchor="t">
            <a:noAutofit/>
          </a:bodyPr>
          <a:lstStyle>
            <a:lvl1pPr marL="0" indent="0">
              <a:buNone/>
              <a:defRPr sz="1067"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3" name="Rectangle 12"/>
          <p:cNvSpPr/>
          <p:nvPr userDrawn="1"/>
        </p:nvSpPr>
        <p:spPr>
          <a:xfrm>
            <a:off x="0" y="6314365"/>
            <a:ext cx="12192000" cy="5436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0" rIns="480000" rtlCol="0" anchor="ctr"/>
          <a:lstStyle/>
          <a:p>
            <a:pPr algn="l" defTabSz="601118">
              <a:tabLst/>
            </a:pPr>
            <a:r>
              <a:rPr lang="fr-BE" sz="1067">
                <a:solidFill>
                  <a:schemeClr val="tx1"/>
                </a:solidFill>
              </a:rPr>
              <a:t>www.metoffice.gov.uk</a:t>
            </a:r>
            <a:r>
              <a:rPr lang="fr-BE" sz="1067">
                <a:solidFill>
                  <a:schemeClr val="bg2"/>
                </a:solidFill>
              </a:rPr>
              <a:t>	</a:t>
            </a:r>
            <a:endParaRPr lang="en-GB" sz="1067">
              <a:solidFill>
                <a:schemeClr val="bg2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5622877" y="6314365"/>
            <a:ext cx="6569123" cy="5436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0" rIns="480000" rtlCol="0" anchor="ctr"/>
          <a:lstStyle/>
          <a:p>
            <a:pPr algn="r" defTabSz="601118">
              <a:tabLst/>
            </a:pPr>
            <a:r>
              <a:rPr lang="fr-BE" sz="1067">
                <a:solidFill>
                  <a:schemeClr val="tx1"/>
                </a:solidFill>
              </a:rPr>
              <a:t>© Crown Copyright</a:t>
            </a:r>
            <a:r>
              <a:rPr lang="fr-BE" sz="1067" baseline="0">
                <a:solidFill>
                  <a:schemeClr val="tx1"/>
                </a:solidFill>
              </a:rPr>
              <a:t> 2020, Met Office</a:t>
            </a:r>
            <a:endParaRPr lang="en-GB" sz="1067">
              <a:solidFill>
                <a:schemeClr val="tx1"/>
              </a:solidFill>
            </a:endParaRPr>
          </a:p>
        </p:txBody>
      </p:sp>
      <p:sp>
        <p:nvSpPr>
          <p:cNvPr id="5" name="Shape 68"/>
          <p:cNvSpPr/>
          <p:nvPr userDrawn="1"/>
        </p:nvSpPr>
        <p:spPr>
          <a:xfrm>
            <a:off x="10041453" y="272735"/>
            <a:ext cx="1814548" cy="360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5719" tIns="35719" rIns="35719" bIns="35719"/>
          <a:lstStyle/>
          <a:p>
            <a:pPr marL="0" marR="0" lvl="0" indent="0" algn="l" defTabSz="457189" rtl="0" eaLnBrk="1" fontAlgn="auto" latinLnBrk="0" hangingPunc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100">
                <a:solidFill>
                  <a:srgbClr val="2A2A2A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kumimoji="0" sz="1067" b="0" i="0" u="none" strike="noStrike" kern="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Working together </a:t>
            </a:r>
            <a:br>
              <a:rPr kumimoji="0" sz="1067" b="0" i="0" u="none" strike="noStrike" kern="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</a:br>
            <a:r>
              <a:rPr kumimoji="0" sz="1067" b="0" i="0" u="none" strike="noStrike" kern="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(enter working relationship)</a:t>
            </a:r>
          </a:p>
        </p:txBody>
      </p:sp>
      <p:pic>
        <p:nvPicPr>
          <p:cNvPr id="18" name="MO_MASTER_for_dark_backg_RBG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244800" y="72000"/>
            <a:ext cx="2405040" cy="7542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0756019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F9FE41-C8F9-47EF-94C3-C489748B47D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7194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6000" y="2064000"/>
            <a:ext cx="5450651" cy="4080000"/>
          </a:xfrm>
        </p:spPr>
        <p:txBody>
          <a:bodyPr/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3200" y="2064000"/>
            <a:ext cx="5452800" cy="4080000"/>
          </a:xfrm>
        </p:spPr>
        <p:txBody>
          <a:bodyPr/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089964" y="2064000"/>
            <a:ext cx="0" cy="4080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F9FE41-C8F9-47EF-94C3-C489748B47D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31976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6000" y="932987"/>
            <a:ext cx="11520000" cy="768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6000" y="2064000"/>
            <a:ext cx="11520000" cy="408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MO_MASTER_black_mono_for_light_backg_RBG.png"/>
          <p:cNvPicPr>
            <a:picLocks noChangeAspect="1"/>
          </p:cNvPicPr>
          <p:nvPr userDrawn="1"/>
        </p:nvPicPr>
        <p:blipFill>
          <a:blip r:embed="rId25" cstate="print"/>
          <a:stretch>
            <a:fillRect/>
          </a:stretch>
        </p:blipFill>
        <p:spPr>
          <a:xfrm>
            <a:off x="245262" y="72789"/>
            <a:ext cx="2403124" cy="753600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Rectangle 8"/>
          <p:cNvSpPr/>
          <p:nvPr userDrawn="1"/>
        </p:nvSpPr>
        <p:spPr>
          <a:xfrm>
            <a:off x="0" y="6314365"/>
            <a:ext cx="12192000" cy="5436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0" rIns="480000" rtlCol="0" anchor="ctr"/>
          <a:lstStyle/>
          <a:p>
            <a:pPr algn="l" defTabSz="601118">
              <a:tabLst/>
            </a:pPr>
            <a:r>
              <a:rPr lang="fr-BE" sz="1067">
                <a:solidFill>
                  <a:schemeClr val="tx1"/>
                </a:solidFill>
              </a:rPr>
              <a:t>	</a:t>
            </a:r>
            <a:endParaRPr lang="en-GB" sz="1067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5135880" y="6403090"/>
            <a:ext cx="191516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fld id="{E5F9FE41-C8F9-47EF-94C3-C489748B47D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5623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2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8.svg"/><Relationship Id="rId9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3.pn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1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3.png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3.png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image" Target="../media/image11.png"/><Relationship Id="rId7" Type="http://schemas.openxmlformats.org/officeDocument/2006/relationships/hyperlink" Target="https://www.youtube.com/watch?v=8KmrXuNTBq8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Relationship Id="rId9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3926B4-A92C-5972-87CE-5F5DFEE67D3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GB"/>
              <a:t>The Transatlantic Data Science Academy: A UK perspectiv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C74F9AF-05DE-E330-209A-900418702E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6001" y="2838735"/>
            <a:ext cx="5229912" cy="3336778"/>
          </a:xfrm>
        </p:spPr>
        <p:txBody>
          <a:bodyPr>
            <a:normAutofit lnSpcReduction="10000"/>
          </a:bodyPr>
          <a:lstStyle/>
          <a:p>
            <a:r>
              <a:rPr lang="en-GB"/>
              <a:t>Dr Damian Wilson</a:t>
            </a:r>
          </a:p>
          <a:p>
            <a:endParaRPr lang="en-GB"/>
          </a:p>
          <a:p>
            <a:r>
              <a:rPr lang="en-GB"/>
              <a:t>Zorica Jones, Becky McCoy, Shannon Jackson, George Pankiewicz, Amy Watts</a:t>
            </a:r>
          </a:p>
          <a:p>
            <a:r>
              <a:rPr lang="en-GB"/>
              <a:t>23 July 2024</a:t>
            </a:r>
          </a:p>
          <a:p>
            <a:r>
              <a:rPr lang="en-GB" b="1"/>
              <a:t>Unifying Innovations in Forecasting Capabilities Workshop 2024, Jackson, MS</a:t>
            </a:r>
          </a:p>
        </p:txBody>
      </p:sp>
      <p:pic>
        <p:nvPicPr>
          <p:cNvPr id="4" name="Picture 3" descr="The NOAA logo">
            <a:extLst>
              <a:ext uri="{FF2B5EF4-FFF2-40B4-BE49-F238E27FC236}">
                <a16:creationId xmlns:a16="http://schemas.microsoft.com/office/drawing/2014/main" id="{5505BAE5-73E9-1420-4303-822447F3F9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8518" y="0"/>
            <a:ext cx="882502" cy="882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4953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3">
            <a:extLst>
              <a:ext uri="{FF2B5EF4-FFF2-40B4-BE49-F238E27FC236}">
                <a16:creationId xmlns:a16="http://schemas.microsoft.com/office/drawing/2014/main" id="{3BDC67D7-C930-6245-D301-173C01D9B1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83696" y="234391"/>
            <a:ext cx="7717804" cy="648111"/>
          </a:xfrm>
        </p:spPr>
        <p:txBody>
          <a:bodyPr>
            <a:noAutofit/>
          </a:bodyPr>
          <a:lstStyle/>
          <a:p>
            <a:r>
              <a:rPr lang="en-GB" sz="3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is much still to do to establish an enduring Academ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FB187BE-1FC5-6EB6-7871-BC367C3701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8518" y="0"/>
            <a:ext cx="882502" cy="882502"/>
          </a:xfrm>
          <a:prstGeom prst="rect">
            <a:avLst/>
          </a:prstGeom>
        </p:spPr>
      </p:pic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58AF7E69-9E50-7E1C-5276-A181470F662B}"/>
              </a:ext>
            </a:extLst>
          </p:cNvPr>
          <p:cNvSpPr txBox="1">
            <a:spLocks/>
          </p:cNvSpPr>
          <p:nvPr/>
        </p:nvSpPr>
        <p:spPr>
          <a:xfrm>
            <a:off x="302839" y="1607952"/>
            <a:ext cx="7714743" cy="40356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Embedding the university relationships within the Met Office – NOAA relationshi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Expanding the reach of the Academ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Ensuring exchanges are as frictionless as possib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Maintaining development opportunities; keeping pace with state-of-the-ar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Enabling longer-term funding arrangem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Realising increased skills and diversity in the Earth Observation workforce</a:t>
            </a:r>
          </a:p>
          <a:p>
            <a:endParaRPr lang="en-GB"/>
          </a:p>
          <a:p>
            <a:endParaRPr lang="en-GB"/>
          </a:p>
        </p:txBody>
      </p:sp>
      <p:grpSp>
        <p:nvGrpSpPr>
          <p:cNvPr id="7" name="Group 6" descr="A diagram illustrating the connecting and overlapping relationships between Professions, Communities of Practice and Academies (from HMRC) ">
            <a:extLst>
              <a:ext uri="{FF2B5EF4-FFF2-40B4-BE49-F238E27FC236}">
                <a16:creationId xmlns:a16="http://schemas.microsoft.com/office/drawing/2014/main" id="{81CF826C-8E3D-3F89-EFA6-AB083C5B15A0}"/>
              </a:ext>
            </a:extLst>
          </p:cNvPr>
          <p:cNvGrpSpPr>
            <a:grpSpLocks noChangeAspect="1"/>
          </p:cNvGrpSpPr>
          <p:nvPr/>
        </p:nvGrpSpPr>
        <p:grpSpPr>
          <a:xfrm>
            <a:off x="8594124" y="2602166"/>
            <a:ext cx="2269016" cy="1958046"/>
            <a:chOff x="4179702" y="1445438"/>
            <a:chExt cx="3451761" cy="3060612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08B95A0B-1884-CD52-2F76-6875BBE79923}"/>
                </a:ext>
              </a:extLst>
            </p:cNvPr>
            <p:cNvGrpSpPr/>
            <p:nvPr/>
          </p:nvGrpSpPr>
          <p:grpSpPr>
            <a:xfrm>
              <a:off x="4179702" y="1445438"/>
              <a:ext cx="1745244" cy="1713116"/>
              <a:chOff x="4179702" y="1445438"/>
              <a:chExt cx="1745244" cy="1713116"/>
            </a:xfrm>
          </p:grpSpPr>
          <p:sp>
            <p:nvSpPr>
              <p:cNvPr id="15" name="Freeform 30">
                <a:extLst>
                  <a:ext uri="{FF2B5EF4-FFF2-40B4-BE49-F238E27FC236}">
                    <a16:creationId xmlns:a16="http://schemas.microsoft.com/office/drawing/2014/main" id="{38084D5F-CA95-A0FD-CABA-FD09AD2794DB}"/>
                  </a:ext>
                </a:extLst>
              </p:cNvPr>
              <p:cNvSpPr/>
              <p:nvPr/>
            </p:nvSpPr>
            <p:spPr>
              <a:xfrm flipH="1" flipV="1">
                <a:off x="4179702" y="1445438"/>
                <a:ext cx="1745244" cy="1713116"/>
              </a:xfrm>
              <a:custGeom>
                <a:avLst/>
                <a:gdLst>
                  <a:gd name="connsiteX0" fmla="*/ 915603 w 1831206"/>
                  <a:gd name="connsiteY0" fmla="*/ 0 h 1831206"/>
                  <a:gd name="connsiteX1" fmla="*/ 1831206 w 1831206"/>
                  <a:gd name="connsiteY1" fmla="*/ 915603 h 1831206"/>
                  <a:gd name="connsiteX2" fmla="*/ 915603 w 1831206"/>
                  <a:gd name="connsiteY2" fmla="*/ 1831206 h 1831206"/>
                  <a:gd name="connsiteX3" fmla="*/ 0 w 1831206"/>
                  <a:gd name="connsiteY3" fmla="*/ 915603 h 1831206"/>
                  <a:gd name="connsiteX4" fmla="*/ 71953 w 1831206"/>
                  <a:gd name="connsiteY4" fmla="*/ 559209 h 1831206"/>
                  <a:gd name="connsiteX5" fmla="*/ 97926 w 1831206"/>
                  <a:gd name="connsiteY5" fmla="*/ 505292 h 1831206"/>
                  <a:gd name="connsiteX6" fmla="*/ 146028 w 1831206"/>
                  <a:gd name="connsiteY6" fmla="*/ 502863 h 1831206"/>
                  <a:gd name="connsiteX7" fmla="*/ 866167 w 1831206"/>
                  <a:gd name="connsiteY7" fmla="*/ 71231 h 1831206"/>
                  <a:gd name="connsiteX8" fmla="*/ 909246 w 1831206"/>
                  <a:gd name="connsiteY8" fmla="*/ 321 h 1831206"/>
                  <a:gd name="connsiteX9" fmla="*/ 915603 w 1831206"/>
                  <a:gd name="connsiteY9" fmla="*/ 0 h 1831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31206" h="1831206">
                    <a:moveTo>
                      <a:pt x="915603" y="0"/>
                    </a:moveTo>
                    <a:cubicBezTo>
                      <a:pt x="1421277" y="0"/>
                      <a:pt x="1831206" y="409929"/>
                      <a:pt x="1831206" y="915603"/>
                    </a:cubicBezTo>
                    <a:cubicBezTo>
                      <a:pt x="1831206" y="1421277"/>
                      <a:pt x="1421277" y="1831206"/>
                      <a:pt x="915603" y="1831206"/>
                    </a:cubicBezTo>
                    <a:cubicBezTo>
                      <a:pt x="409929" y="1831206"/>
                      <a:pt x="0" y="1421277"/>
                      <a:pt x="0" y="915603"/>
                    </a:cubicBezTo>
                    <a:cubicBezTo>
                      <a:pt x="0" y="789185"/>
                      <a:pt x="25621" y="668750"/>
                      <a:pt x="71953" y="559209"/>
                    </a:cubicBezTo>
                    <a:lnTo>
                      <a:pt x="97926" y="505292"/>
                    </a:lnTo>
                    <a:lnTo>
                      <a:pt x="146028" y="502863"/>
                    </a:lnTo>
                    <a:cubicBezTo>
                      <a:pt x="445738" y="472426"/>
                      <a:pt x="705951" y="308382"/>
                      <a:pt x="866167" y="71231"/>
                    </a:cubicBezTo>
                    <a:lnTo>
                      <a:pt x="909246" y="321"/>
                    </a:lnTo>
                    <a:lnTo>
                      <a:pt x="915603" y="0"/>
                    </a:lnTo>
                    <a:close/>
                  </a:path>
                </a:pathLst>
              </a:custGeom>
              <a:solidFill>
                <a:srgbClr val="ED7D31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16" name="Graphic 15" descr="Graduation cap">
                <a:extLst>
                  <a:ext uri="{FF2B5EF4-FFF2-40B4-BE49-F238E27FC236}">
                    <a16:creationId xmlns:a16="http://schemas.microsoft.com/office/drawing/2014/main" id="{D7724389-98FF-2376-A57A-B404C5EA36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4581976" y="1748017"/>
                <a:ext cx="940695" cy="940359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A64B3A3-5E2E-7AD6-2E36-E102338A03C8}"/>
                </a:ext>
              </a:extLst>
            </p:cNvPr>
            <p:cNvGrpSpPr/>
            <p:nvPr/>
          </p:nvGrpSpPr>
          <p:grpSpPr>
            <a:xfrm>
              <a:off x="5968496" y="1445438"/>
              <a:ext cx="1662967" cy="1713116"/>
              <a:chOff x="5968496" y="1445438"/>
              <a:chExt cx="1662967" cy="1713116"/>
            </a:xfrm>
          </p:grpSpPr>
          <p:sp>
            <p:nvSpPr>
              <p:cNvPr id="13" name="Freeform 29">
                <a:extLst>
                  <a:ext uri="{FF2B5EF4-FFF2-40B4-BE49-F238E27FC236}">
                    <a16:creationId xmlns:a16="http://schemas.microsoft.com/office/drawing/2014/main" id="{84F53C32-D502-43D5-221D-157A6EA906F6}"/>
                  </a:ext>
                </a:extLst>
              </p:cNvPr>
              <p:cNvSpPr/>
              <p:nvPr/>
            </p:nvSpPr>
            <p:spPr>
              <a:xfrm flipH="1" flipV="1">
                <a:off x="5968496" y="1445438"/>
                <a:ext cx="1662967" cy="1713116"/>
              </a:xfrm>
              <a:custGeom>
                <a:avLst/>
                <a:gdLst>
                  <a:gd name="connsiteX0" fmla="*/ 915603 w 1744877"/>
                  <a:gd name="connsiteY0" fmla="*/ 0 h 1831206"/>
                  <a:gd name="connsiteX1" fmla="*/ 1720698 w 1744877"/>
                  <a:gd name="connsiteY1" fmla="*/ 479172 h 1831206"/>
                  <a:gd name="connsiteX2" fmla="*/ 1744877 w 1744877"/>
                  <a:gd name="connsiteY2" fmla="*/ 529365 h 1831206"/>
                  <a:gd name="connsiteX3" fmla="*/ 1744563 w 1744877"/>
                  <a:gd name="connsiteY3" fmla="*/ 530016 h 1831206"/>
                  <a:gd name="connsiteX4" fmla="*/ 1666717 w 1744877"/>
                  <a:gd name="connsiteY4" fmla="*/ 915603 h 1831206"/>
                  <a:gd name="connsiteX5" fmla="*/ 1744563 w 1744877"/>
                  <a:gd name="connsiteY5" fmla="*/ 1301190 h 1831206"/>
                  <a:gd name="connsiteX6" fmla="*/ 1744877 w 1744877"/>
                  <a:gd name="connsiteY6" fmla="*/ 1301841 h 1831206"/>
                  <a:gd name="connsiteX7" fmla="*/ 1720698 w 1744877"/>
                  <a:gd name="connsiteY7" fmla="*/ 1352034 h 1831206"/>
                  <a:gd name="connsiteX8" fmla="*/ 915603 w 1744877"/>
                  <a:gd name="connsiteY8" fmla="*/ 1831206 h 1831206"/>
                  <a:gd name="connsiteX9" fmla="*/ 0 w 1744877"/>
                  <a:gd name="connsiteY9" fmla="*/ 915603 h 1831206"/>
                  <a:gd name="connsiteX10" fmla="*/ 915603 w 1744877"/>
                  <a:gd name="connsiteY10" fmla="*/ 0 h 1831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744877" h="1831206">
                    <a:moveTo>
                      <a:pt x="915603" y="0"/>
                    </a:moveTo>
                    <a:cubicBezTo>
                      <a:pt x="1263254" y="0"/>
                      <a:pt x="1565651" y="193756"/>
                      <a:pt x="1720698" y="479172"/>
                    </a:cubicBezTo>
                    <a:lnTo>
                      <a:pt x="1744877" y="529365"/>
                    </a:lnTo>
                    <a:lnTo>
                      <a:pt x="1744563" y="530016"/>
                    </a:lnTo>
                    <a:cubicBezTo>
                      <a:pt x="1694436" y="648530"/>
                      <a:pt x="1666717" y="778830"/>
                      <a:pt x="1666717" y="915603"/>
                    </a:cubicBezTo>
                    <a:cubicBezTo>
                      <a:pt x="1666717" y="1052377"/>
                      <a:pt x="1694436" y="1182676"/>
                      <a:pt x="1744563" y="1301190"/>
                    </a:cubicBezTo>
                    <a:lnTo>
                      <a:pt x="1744877" y="1301841"/>
                    </a:lnTo>
                    <a:lnTo>
                      <a:pt x="1720698" y="1352034"/>
                    </a:lnTo>
                    <a:cubicBezTo>
                      <a:pt x="1565651" y="1637451"/>
                      <a:pt x="1263254" y="1831206"/>
                      <a:pt x="915603" y="1831206"/>
                    </a:cubicBezTo>
                    <a:cubicBezTo>
                      <a:pt x="409929" y="1831206"/>
                      <a:pt x="0" y="1421277"/>
                      <a:pt x="0" y="915603"/>
                    </a:cubicBezTo>
                    <a:cubicBezTo>
                      <a:pt x="0" y="409929"/>
                      <a:pt x="409929" y="0"/>
                      <a:pt x="915603" y="0"/>
                    </a:cubicBezTo>
                    <a:close/>
                  </a:path>
                </a:pathLst>
              </a:custGeom>
              <a:solidFill>
                <a:srgbClr val="5B9BD5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14" name="Graphic 13" descr="Users">
                <a:extLst>
                  <a:ext uri="{FF2B5EF4-FFF2-40B4-BE49-F238E27FC236}">
                    <a16:creationId xmlns:a16="http://schemas.microsoft.com/office/drawing/2014/main" id="{DC22203F-1AA0-F2D6-587C-CAE2105DF65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6306831" y="1807761"/>
                <a:ext cx="940695" cy="940359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14B8DC1-238A-9699-81C9-B85DC7E89F49}"/>
                </a:ext>
              </a:extLst>
            </p:cNvPr>
            <p:cNvGrpSpPr/>
            <p:nvPr/>
          </p:nvGrpSpPr>
          <p:grpSpPr>
            <a:xfrm>
              <a:off x="5031934" y="2792934"/>
              <a:ext cx="1745244" cy="1713116"/>
              <a:chOff x="5031934" y="2792934"/>
              <a:chExt cx="1745244" cy="1713116"/>
            </a:xfrm>
          </p:grpSpPr>
          <p:sp>
            <p:nvSpPr>
              <p:cNvPr id="11" name="Freeform 28">
                <a:extLst>
                  <a:ext uri="{FF2B5EF4-FFF2-40B4-BE49-F238E27FC236}">
                    <a16:creationId xmlns:a16="http://schemas.microsoft.com/office/drawing/2014/main" id="{4CC91BD9-4924-FE50-F151-485AE4F6D218}"/>
                  </a:ext>
                </a:extLst>
              </p:cNvPr>
              <p:cNvSpPr/>
              <p:nvPr/>
            </p:nvSpPr>
            <p:spPr>
              <a:xfrm flipH="1" flipV="1">
                <a:off x="5031934" y="2792934"/>
                <a:ext cx="1745244" cy="1713116"/>
              </a:xfrm>
              <a:custGeom>
                <a:avLst/>
                <a:gdLst>
                  <a:gd name="connsiteX0" fmla="*/ 915603 w 1831206"/>
                  <a:gd name="connsiteY0" fmla="*/ 0 h 1831206"/>
                  <a:gd name="connsiteX1" fmla="*/ 1831206 w 1831206"/>
                  <a:gd name="connsiteY1" fmla="*/ 915603 h 1831206"/>
                  <a:gd name="connsiteX2" fmla="*/ 915603 w 1831206"/>
                  <a:gd name="connsiteY2" fmla="*/ 1831206 h 1831206"/>
                  <a:gd name="connsiteX3" fmla="*/ 909247 w 1831206"/>
                  <a:gd name="connsiteY3" fmla="*/ 1830885 h 1831206"/>
                  <a:gd name="connsiteX4" fmla="*/ 866168 w 1831206"/>
                  <a:gd name="connsiteY4" fmla="*/ 1759975 h 1831206"/>
                  <a:gd name="connsiteX5" fmla="*/ 146029 w 1831206"/>
                  <a:gd name="connsiteY5" fmla="*/ 1328343 h 1831206"/>
                  <a:gd name="connsiteX6" fmla="*/ 97926 w 1831206"/>
                  <a:gd name="connsiteY6" fmla="*/ 1325914 h 1831206"/>
                  <a:gd name="connsiteX7" fmla="*/ 71953 w 1831206"/>
                  <a:gd name="connsiteY7" fmla="*/ 1271997 h 1831206"/>
                  <a:gd name="connsiteX8" fmla="*/ 0 w 1831206"/>
                  <a:gd name="connsiteY8" fmla="*/ 915603 h 1831206"/>
                  <a:gd name="connsiteX9" fmla="*/ 915603 w 1831206"/>
                  <a:gd name="connsiteY9" fmla="*/ 0 h 1831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31206" h="1831206">
                    <a:moveTo>
                      <a:pt x="915603" y="0"/>
                    </a:moveTo>
                    <a:cubicBezTo>
                      <a:pt x="1421277" y="0"/>
                      <a:pt x="1831206" y="409929"/>
                      <a:pt x="1831206" y="915603"/>
                    </a:cubicBezTo>
                    <a:cubicBezTo>
                      <a:pt x="1831206" y="1421277"/>
                      <a:pt x="1421277" y="1831206"/>
                      <a:pt x="915603" y="1831206"/>
                    </a:cubicBezTo>
                    <a:lnTo>
                      <a:pt x="909247" y="1830885"/>
                    </a:lnTo>
                    <a:lnTo>
                      <a:pt x="866168" y="1759975"/>
                    </a:lnTo>
                    <a:cubicBezTo>
                      <a:pt x="705952" y="1522824"/>
                      <a:pt x="445739" y="1358781"/>
                      <a:pt x="146029" y="1328343"/>
                    </a:cubicBezTo>
                    <a:lnTo>
                      <a:pt x="97926" y="1325914"/>
                    </a:lnTo>
                    <a:lnTo>
                      <a:pt x="71953" y="1271997"/>
                    </a:lnTo>
                    <a:cubicBezTo>
                      <a:pt x="25621" y="1162456"/>
                      <a:pt x="0" y="1042022"/>
                      <a:pt x="0" y="915603"/>
                    </a:cubicBezTo>
                    <a:cubicBezTo>
                      <a:pt x="0" y="409929"/>
                      <a:pt x="409929" y="0"/>
                      <a:pt x="915603" y="0"/>
                    </a:cubicBezTo>
                    <a:close/>
                  </a:path>
                </a:pathLst>
              </a:custGeom>
              <a:solidFill>
                <a:srgbClr val="70AD47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12" name="Graphic 11" descr="Bank">
                <a:extLst>
                  <a:ext uri="{FF2B5EF4-FFF2-40B4-BE49-F238E27FC236}">
                    <a16:creationId xmlns:a16="http://schemas.microsoft.com/office/drawing/2014/main" id="{88C4F5E6-F818-5C66-3E68-B87DC370AB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5434208" y="3155257"/>
                <a:ext cx="940695" cy="940359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B64CA1F5-BA9E-F8B0-C6B5-766ACB86F0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8046209" y="2147306"/>
            <a:ext cx="17804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000" b="1">
                <a:solidFill>
                  <a:srgbClr val="ED7D31">
                    <a:lumMod val="75000"/>
                  </a:srgbClr>
                </a:solidFill>
                <a:cs typeface="Arial" panose="020B0604020202020204" pitchFamily="34" charset="0"/>
              </a:rPr>
              <a:t>Profession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9086BC8-BF3F-CFCC-E12A-1DC8572DB3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157478" y="1949326"/>
            <a:ext cx="19487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000" b="1">
                <a:solidFill>
                  <a:srgbClr val="5B9BD5"/>
                </a:solidFill>
                <a:cs typeface="Arial" panose="020B0604020202020204" pitchFamily="34" charset="0"/>
              </a:rPr>
              <a:t>Communitie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000" b="1">
                <a:solidFill>
                  <a:srgbClr val="5B9BD5"/>
                </a:solidFill>
                <a:cs typeface="Arial" panose="020B0604020202020204" pitchFamily="34" charset="0"/>
              </a:rPr>
              <a:t>of Practic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5B578EC-B348-F033-EA79-CBEC7BC727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8775518" y="4529432"/>
            <a:ext cx="16153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000" b="1">
                <a:solidFill>
                  <a:srgbClr val="70AD47">
                    <a:lumMod val="75000"/>
                  </a:srgbClr>
                </a:solidFill>
                <a:cs typeface="Arial" panose="020B0604020202020204" pitchFamily="34" charset="0"/>
              </a:rPr>
              <a:t>Academi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45BB3C9-3252-A5D7-CC27-0723D92154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290708" y="3816148"/>
            <a:ext cx="9688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/>
              <a:t>HMRC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4E23F760-B35D-FD4B-83C0-74030944C6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28705" y="4816934"/>
            <a:ext cx="2352675" cy="1504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3979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FC612A-6783-F954-5CF3-ADEAA73CE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he Transatlantic Data Science Academ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F0E876C-A2FD-999C-8982-D40A7877B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8518" y="0"/>
            <a:ext cx="882502" cy="882502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4EB3BE-1A89-642A-8895-433B09B49A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6042" y="2635199"/>
            <a:ext cx="6250538" cy="3289813"/>
          </a:xfrm>
        </p:spPr>
        <p:txBody>
          <a:bodyPr>
            <a:normAutofit/>
          </a:bodyPr>
          <a:lstStyle/>
          <a:p>
            <a:r>
              <a:rPr lang="en-GB" sz="2800"/>
              <a:t>Establishing a skills pipeline for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/>
              <a:t>Data engineering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/>
              <a:t>Data science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/>
              <a:t>Data assimilation; an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/>
              <a:t>Research software engineering</a:t>
            </a:r>
          </a:p>
          <a:p>
            <a:r>
              <a:rPr lang="en-GB" sz="2800"/>
              <a:t>for Earth Observation</a:t>
            </a:r>
          </a:p>
          <a:p>
            <a:endParaRPr lang="en-GB"/>
          </a:p>
        </p:txBody>
      </p:sp>
      <p:pic>
        <p:nvPicPr>
          <p:cNvPr id="6" name="Picture 5" descr="The Transatlantic Data Science Academy logo">
            <a:extLst>
              <a:ext uri="{FF2B5EF4-FFF2-40B4-BE49-F238E27FC236}">
                <a16:creationId xmlns:a16="http://schemas.microsoft.com/office/drawing/2014/main" id="{6AF6257D-0405-2CB6-CDC6-B671FD19E9F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9593" y="2635200"/>
            <a:ext cx="3776407" cy="3649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3308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3A7CB20-290B-AD51-BC67-6232952CBF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43301" y="85724"/>
            <a:ext cx="8543924" cy="648111"/>
          </a:xfrm>
        </p:spPr>
        <p:txBody>
          <a:bodyPr>
            <a:noAutofit/>
          </a:bodyPr>
          <a:lstStyle/>
          <a:p>
            <a:r>
              <a:rPr lang="en-GB" sz="3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need to develop our data science skillsets</a:t>
            </a:r>
            <a:endParaRPr lang="en-GB" sz="3200">
              <a:solidFill>
                <a:schemeClr val="bg2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D7429CD-61BE-B032-194B-2F2B7C9259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8518" y="0"/>
            <a:ext cx="882502" cy="882502"/>
          </a:xfrm>
          <a:prstGeom prst="rect">
            <a:avLst/>
          </a:prstGeom>
        </p:spPr>
      </p:pic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3BAC25B6-C844-2296-3ACE-23C4E738353E}"/>
              </a:ext>
            </a:extLst>
          </p:cNvPr>
          <p:cNvSpPr txBox="1">
            <a:spLocks/>
          </p:cNvSpPr>
          <p:nvPr/>
        </p:nvSpPr>
        <p:spPr>
          <a:xfrm>
            <a:off x="364575" y="1332749"/>
            <a:ext cx="5560303" cy="46734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A very fast transition towards using data driven approaches for weather and climate advi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Huge potential of £1.2bn high performance computing invest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Need for data engineering, data science, data assimilation and research software engineering skil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A wealth of untapped, diverse talent availab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A Met Office / NOAA vision for a Transatlantic Data Science Academy </a:t>
            </a:r>
          </a:p>
          <a:p>
            <a:endParaRPr lang="en-GB"/>
          </a:p>
          <a:p>
            <a:endParaRPr lang="en-GB"/>
          </a:p>
        </p:txBody>
      </p:sp>
      <p:pic>
        <p:nvPicPr>
          <p:cNvPr id="7" name="Picture 6" descr="Professor Stephen Belcher, Met Office Chief of Science and Technology; Professor Penny Endersby, Met Office Chief Executive and Dr Michael Morgan, NOAA Assistant Secretary of Commerce for Environmental Observation and Prediction">
            <a:extLst>
              <a:ext uri="{FF2B5EF4-FFF2-40B4-BE49-F238E27FC236}">
                <a16:creationId xmlns:a16="http://schemas.microsoft.com/office/drawing/2014/main" id="{8DEE001F-8626-A0CF-5382-A66B9AB062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3157" y="1322755"/>
            <a:ext cx="5239715" cy="349177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47E16EF-2ABE-17E1-1D06-5EDB4CAF8C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6319991" y="4934487"/>
            <a:ext cx="366426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0" i="0">
                <a:solidFill>
                  <a:srgbClr val="333333"/>
                </a:solidFill>
                <a:effectLst/>
              </a:rPr>
              <a:t>Professor Stephen Belcher, Met Office Chief of Science and Technology; Professor Penny Endersby, Met Office Chief Executive and Dr Michael Morgan, NOAA Assistant Secretary of Commerce for Environmental Observation and Prediction</a:t>
            </a:r>
            <a:endParaRPr lang="en-GB" sz="12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67DBDE3-992B-2F3C-954F-4F021B3DC4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39325" y="4814532"/>
            <a:ext cx="2352675" cy="1504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4783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E546573-D01C-035D-6638-BC27219782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08885" y="-53460"/>
            <a:ext cx="7385729" cy="1015896"/>
          </a:xfrm>
        </p:spPr>
        <p:txBody>
          <a:bodyPr>
            <a:normAutofit/>
          </a:bodyPr>
          <a:lstStyle/>
          <a:p>
            <a:r>
              <a:rPr lang="en-GB" sz="3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ransatlantic Data Science workforce fit for the future</a:t>
            </a:r>
            <a:endParaRPr lang="en-GB" sz="3200">
              <a:solidFill>
                <a:schemeClr val="bg2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7089C5A-457E-E450-6AEE-9094D61D25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8518" y="0"/>
            <a:ext cx="882502" cy="882502"/>
          </a:xfrm>
          <a:prstGeom prst="rect">
            <a:avLst/>
          </a:prstGeom>
        </p:spPr>
      </p:pic>
      <p:sp>
        <p:nvSpPr>
          <p:cNvPr id="5" name="Google Shape;1098;p25">
            <a:extLst>
              <a:ext uri="{FF2B5EF4-FFF2-40B4-BE49-F238E27FC236}">
                <a16:creationId xmlns:a16="http://schemas.microsoft.com/office/drawing/2014/main" id="{34AE1977-C8AB-81DE-EDC4-BD7833966209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563490" y="1723023"/>
            <a:ext cx="6237359" cy="29354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None/>
            </a:pPr>
            <a:r>
              <a:rPr lang="en-GB" sz="2800" b="1"/>
              <a:t>Our mission:</a:t>
            </a:r>
          </a:p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None/>
            </a:pPr>
            <a:r>
              <a:rPr lang="en-GB" sz="2800"/>
              <a:t>To develop an enabling environment to attract, retain and grow the skilled and diverse workforce needed to realise the potential of a new frontier in Data Science in weather and climate science now and in the future</a:t>
            </a:r>
            <a:endParaRPr sz="2800"/>
          </a:p>
        </p:txBody>
      </p:sp>
      <p:pic>
        <p:nvPicPr>
          <p:cNvPr id="6" name="Picture 5" descr="The Transatlantic Data Science Academy logo">
            <a:extLst>
              <a:ext uri="{FF2B5EF4-FFF2-40B4-BE49-F238E27FC236}">
                <a16:creationId xmlns:a16="http://schemas.microsoft.com/office/drawing/2014/main" id="{CAE4189E-FAD0-9840-1A27-AAA81747AAD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9923" y="1212996"/>
            <a:ext cx="3776407" cy="364990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9C51C4D-87D4-10D4-886C-A470B5AC70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39325" y="4814532"/>
            <a:ext cx="2352675" cy="1504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3848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>
            <a:extLst>
              <a:ext uri="{FF2B5EF4-FFF2-40B4-BE49-F238E27FC236}">
                <a16:creationId xmlns:a16="http://schemas.microsoft.com/office/drawing/2014/main" id="{3A8E89E2-978D-DB91-9BE8-F36E6735A2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59248" y="-311549"/>
            <a:ext cx="7385729" cy="1015896"/>
          </a:xfrm>
        </p:spPr>
        <p:txBody>
          <a:bodyPr>
            <a:normAutofit/>
          </a:bodyPr>
          <a:lstStyle/>
          <a:p>
            <a:r>
              <a:rPr lang="en-GB" sz="3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ning for the future</a:t>
            </a:r>
            <a:endParaRPr lang="en-GB" sz="3200">
              <a:solidFill>
                <a:schemeClr val="bg2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918E6C7-7CF0-CBB7-23D3-80B6CFADCC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8518" y="0"/>
            <a:ext cx="882502" cy="88250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503AFAF-7982-3740-89AC-351C057225A0}"/>
              </a:ext>
            </a:extLst>
          </p:cNvPr>
          <p:cNvSpPr txBox="1"/>
          <p:nvPr/>
        </p:nvSpPr>
        <p:spPr>
          <a:xfrm>
            <a:off x="276715" y="1161889"/>
            <a:ext cx="7152785" cy="55153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400">
                <a:solidFill>
                  <a:srgbClr val="2A2A2A"/>
                </a:solidFill>
                <a:latin typeface="Arial"/>
              </a:rPr>
              <a:t>NOAA and Met Office teams met in January 2024 to develop a Joint Academy Plan</a:t>
            </a:r>
          </a:p>
          <a:p>
            <a:pPr marL="171450" marR="0" lvl="0" indent="-17145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400">
                <a:solidFill>
                  <a:srgbClr val="2A2A2A"/>
                </a:solidFill>
                <a:latin typeface="Arial"/>
              </a:rPr>
              <a:t>We agreed f</a:t>
            </a: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2A2A2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r key focuses for the next 1-2 years</a:t>
            </a:r>
            <a:endParaRPr lang="en-GB" sz="2400">
              <a:solidFill>
                <a:srgbClr val="2A2A2A"/>
              </a:solidFill>
              <a:latin typeface="Arial"/>
            </a:endParaRPr>
          </a:p>
          <a:p>
            <a:pPr marL="628650" lvl="1" indent="-171450"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2A2A2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elop a </a:t>
            </a:r>
            <a:r>
              <a:rPr kumimoji="0" lang="en-GB" sz="2400" b="1" u="none" strike="noStrike" kern="1200" cap="none" spc="0" normalizeH="0" baseline="0" noProof="0">
                <a:ln>
                  <a:noFill/>
                </a:ln>
                <a:solidFill>
                  <a:srgbClr val="2A2A2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oint Academy with common goals</a:t>
            </a: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2A2A2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objectives, expectations, timings &amp; governance</a:t>
            </a:r>
          </a:p>
          <a:p>
            <a:pPr marL="628650" lvl="1" indent="-171450"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2A2A2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gree plans to </a:t>
            </a: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2A2A2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ure future funding and resources </a:t>
            </a: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2A2A2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create a sustainable Academy</a:t>
            </a:r>
          </a:p>
          <a:p>
            <a:pPr marL="628650" lvl="1" indent="-171450"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2A2A2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 and </a:t>
            </a: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2A2A2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elop relationships </a:t>
            </a: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2A2A2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 our stakeholders and partners within the Academy</a:t>
            </a:r>
          </a:p>
          <a:p>
            <a:pPr marL="628650" lvl="1" indent="-171450"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2A2A2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pport </a:t>
            </a: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2A2A2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ffective communication and collaborative working </a:t>
            </a: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2A2A2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tween </a:t>
            </a:r>
            <a:r>
              <a:rPr lang="en-GB" sz="2400">
                <a:solidFill>
                  <a:srgbClr val="2A2A2A"/>
                </a:solidFill>
                <a:latin typeface="Arial"/>
              </a:rPr>
              <a:t>the Met Office</a:t>
            </a: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2A2A2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NOAA</a:t>
            </a:r>
          </a:p>
          <a:p>
            <a:pPr marL="171450" marR="0" lvl="0" indent="-17145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2A2A2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075" name="Picture 3" descr="A photograph of the Met Office and NOAA teams meeting outside the NOAA headquarters in January 2024">
            <a:extLst>
              <a:ext uri="{FF2B5EF4-FFF2-40B4-BE49-F238E27FC236}">
                <a16:creationId xmlns:a16="http://schemas.microsoft.com/office/drawing/2014/main" id="{361D9E7F-D450-052E-DDF6-2556D3F25F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7827" y="1376184"/>
            <a:ext cx="3484571" cy="3352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E8535D7-64FC-5438-A963-26D7D59073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39325" y="4814532"/>
            <a:ext cx="2352675" cy="1504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2366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3">
            <a:extLst>
              <a:ext uri="{FF2B5EF4-FFF2-40B4-BE49-F238E27FC236}">
                <a16:creationId xmlns:a16="http://schemas.microsoft.com/office/drawing/2014/main" id="{01D8AD68-C8EB-27BC-F948-A876894885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43301" y="85724"/>
            <a:ext cx="8543924" cy="648111"/>
          </a:xfrm>
        </p:spPr>
        <p:txBody>
          <a:bodyPr>
            <a:noAutofit/>
          </a:bodyPr>
          <a:lstStyle/>
          <a:p>
            <a:r>
              <a:rPr lang="en-GB" sz="3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Academy focuses on four main themes</a:t>
            </a:r>
            <a:endParaRPr lang="en-GB" sz="3200">
              <a:solidFill>
                <a:schemeClr val="bg2"/>
              </a:solidFill>
            </a:endParaRPr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856EC921-3045-FF39-F32D-F207F76C3ED7}"/>
              </a:ext>
            </a:extLst>
          </p:cNvPr>
          <p:cNvSpPr txBox="1">
            <a:spLocks/>
          </p:cNvSpPr>
          <p:nvPr/>
        </p:nvSpPr>
        <p:spPr>
          <a:xfrm>
            <a:off x="1233611" y="1928574"/>
            <a:ext cx="4528060" cy="17496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>
                <a:solidFill>
                  <a:srgbClr val="000000"/>
                </a:solidFill>
              </a:rPr>
              <a:t>Career Development: </a:t>
            </a:r>
            <a:r>
              <a:rPr lang="en-GB" sz="2400">
                <a:solidFill>
                  <a:srgbClr val="000000"/>
                </a:solidFill>
              </a:rPr>
              <a:t>Pathways, training, learning interventions etc.</a:t>
            </a:r>
            <a:endParaRPr lang="en-GB" sz="240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D60C52-4503-588F-3A18-A0D304C151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383" y="2149890"/>
            <a:ext cx="711389" cy="711389"/>
          </a:xfrm>
          <a:prstGeom prst="rect">
            <a:avLst/>
          </a:prstGeom>
        </p:spPr>
      </p:pic>
      <p:sp>
        <p:nvSpPr>
          <p:cNvPr id="2" name="Content Placeholder 9">
            <a:extLst>
              <a:ext uri="{FF2B5EF4-FFF2-40B4-BE49-F238E27FC236}">
                <a16:creationId xmlns:a16="http://schemas.microsoft.com/office/drawing/2014/main" id="{3366B2E5-209E-43C5-5377-8CFB496BD620}"/>
              </a:ext>
            </a:extLst>
          </p:cNvPr>
          <p:cNvSpPr txBox="1">
            <a:spLocks/>
          </p:cNvSpPr>
          <p:nvPr/>
        </p:nvSpPr>
        <p:spPr>
          <a:xfrm>
            <a:off x="6287621" y="1920869"/>
            <a:ext cx="4253742" cy="15049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>
                <a:solidFill>
                  <a:srgbClr val="000000"/>
                </a:solidFill>
              </a:rPr>
              <a:t>Exchanges: </a:t>
            </a:r>
            <a:r>
              <a:rPr lang="en-GB" sz="2400">
                <a:solidFill>
                  <a:srgbClr val="000000"/>
                </a:solidFill>
              </a:rPr>
              <a:t>Met Office, NOAA and partner universities; staff and studen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EE9B190-B7CD-5E71-E30B-CA30B56F1F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79446" y="2073523"/>
            <a:ext cx="762185" cy="762185"/>
          </a:xfrm>
          <a:prstGeom prst="rect">
            <a:avLst/>
          </a:prstGeom>
        </p:spPr>
      </p:pic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49EE314-3BCF-2A07-08A2-8058C50B906A}"/>
              </a:ext>
            </a:extLst>
          </p:cNvPr>
          <p:cNvSpPr txBox="1">
            <a:spLocks/>
          </p:cNvSpPr>
          <p:nvPr/>
        </p:nvSpPr>
        <p:spPr>
          <a:xfrm>
            <a:off x="1233611" y="3650281"/>
            <a:ext cx="4528060" cy="17496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>
                <a:solidFill>
                  <a:srgbClr val="000000"/>
                </a:solidFill>
              </a:rPr>
              <a:t>Communication: </a:t>
            </a:r>
            <a:r>
              <a:rPr lang="en-GB" sz="2400">
                <a:solidFill>
                  <a:srgbClr val="000000"/>
                </a:solidFill>
              </a:rPr>
              <a:t>Reaching wide internal, partner and external audiences</a:t>
            </a:r>
            <a:endParaRPr lang="en-GB" sz="24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086D079-8866-2631-30FA-D78014E638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560" y="3835113"/>
            <a:ext cx="923033" cy="923033"/>
          </a:xfrm>
          <a:prstGeom prst="rect">
            <a:avLst/>
          </a:prstGeom>
        </p:spPr>
      </p:pic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FDC57121-ED88-5417-560D-6530F6457F35}"/>
              </a:ext>
            </a:extLst>
          </p:cNvPr>
          <p:cNvSpPr txBox="1">
            <a:spLocks/>
          </p:cNvSpPr>
          <p:nvPr/>
        </p:nvSpPr>
        <p:spPr>
          <a:xfrm>
            <a:off x="6287622" y="3650279"/>
            <a:ext cx="4253742" cy="19545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>
                <a:solidFill>
                  <a:srgbClr val="000000"/>
                </a:solidFill>
              </a:rPr>
              <a:t>Sandbox: </a:t>
            </a:r>
            <a:r>
              <a:rPr lang="en-GB" sz="2400">
                <a:solidFill>
                  <a:srgbClr val="000000"/>
                </a:solidFill>
              </a:rPr>
              <a:t>A common platform to share tools, data and expand communities and innovation</a:t>
            </a:r>
            <a:endParaRPr lang="en-GB" sz="24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1BEE650-199B-30AB-D215-C6AA3DA456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41363" y="3876703"/>
            <a:ext cx="834051" cy="83405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F005CDA-A82D-6ACE-C0D1-17937BC51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38164" y="4814901"/>
            <a:ext cx="2352675" cy="150495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D27A9F5-D9A3-A111-AC44-CFD5067144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58518" y="0"/>
            <a:ext cx="882502" cy="882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4630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">
            <a:extLst>
              <a:ext uri="{FF2B5EF4-FFF2-40B4-BE49-F238E27FC236}">
                <a16:creationId xmlns:a16="http://schemas.microsoft.com/office/drawing/2014/main" id="{CE4630DD-4C2F-ECCD-2F9F-39E072D123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83696" y="234391"/>
            <a:ext cx="6415087" cy="648111"/>
          </a:xfrm>
        </p:spPr>
        <p:txBody>
          <a:bodyPr>
            <a:noAutofit/>
          </a:bodyPr>
          <a:lstStyle/>
          <a:p>
            <a:r>
              <a:rPr lang="en-GB" sz="3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hanges develop new skills and employee experiences</a:t>
            </a:r>
            <a:endParaRPr lang="en-GB" sz="3200">
              <a:solidFill>
                <a:schemeClr val="bg2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2053EE2-023E-E4A4-3D6D-CC631D2606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8518" y="0"/>
            <a:ext cx="882502" cy="882502"/>
          </a:xfrm>
          <a:prstGeom prst="rect">
            <a:avLst/>
          </a:prstGeom>
        </p:spPr>
      </p:pic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00018398-4AEE-B657-6EE8-C192FD1800DB}"/>
              </a:ext>
            </a:extLst>
          </p:cNvPr>
          <p:cNvSpPr txBox="1">
            <a:spLocks/>
          </p:cNvSpPr>
          <p:nvPr/>
        </p:nvSpPr>
        <p:spPr>
          <a:xfrm>
            <a:off x="309341" y="1387115"/>
            <a:ext cx="7695134" cy="4720984"/>
          </a:xfrm>
          <a:prstGeom prst="rect">
            <a:avLst/>
          </a:prstGeom>
        </p:spPr>
        <p:txBody>
          <a:bodyPr vert="horz" lIns="121920" tIns="60960" rIns="121920" bIns="60960" rtlCol="0" anchor="t">
            <a:normAutofit fontScale="92500" lnSpcReduction="10000"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2600" kern="100">
                <a:ea typeface="Calibri" panose="020F0502020204030204" pitchFamily="34" charset="0"/>
                <a:cs typeface="Times New Roman" panose="02020603050405020304" pitchFamily="18" charset="0"/>
              </a:rPr>
              <a:t>Placing Met Office and NOAA staff together on joint project work over several weeks</a:t>
            </a:r>
          </a:p>
          <a:p>
            <a:pPr marL="457200" indent="-4572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2600" kern="100">
                <a:ea typeface="Calibri" panose="020F0502020204030204" pitchFamily="34" charset="0"/>
                <a:cs typeface="Times New Roman" panose="02020603050405020304" pitchFamily="18" charset="0"/>
              </a:rPr>
              <a:t>Improving exchange processes, and increasing diversity of skills</a:t>
            </a:r>
          </a:p>
          <a:p>
            <a:pPr marL="457200" indent="-4572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2600" kern="100">
                <a:ea typeface="Calibri" panose="020F0502020204030204" pitchFamily="34" charset="0"/>
                <a:cs typeface="Times New Roman" panose="02020603050405020304" pitchFamily="18" charset="0"/>
              </a:rPr>
              <a:t>Several visits of Met Office staff to NOAA establishments</a:t>
            </a:r>
          </a:p>
          <a:p>
            <a:pPr marL="457200" indent="-4572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2600" kern="100">
                <a:ea typeface="Calibri" panose="020F0502020204030204" pitchFamily="34" charset="0"/>
                <a:cs typeface="Times New Roman" panose="02020603050405020304" pitchFamily="18" charset="0"/>
              </a:rPr>
              <a:t>Aim to support much wider organisational placements</a:t>
            </a:r>
          </a:p>
          <a:p>
            <a:pPr marL="457200" indent="-4572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2600" i="1">
                <a:cs typeface="Arial"/>
              </a:rPr>
              <a:t>“Working with other women at JCSDA helped to develop my confidence.” – Kate Huxtable, Met Office</a:t>
            </a:r>
          </a:p>
          <a:p>
            <a:pPr>
              <a:lnSpc>
                <a:spcPct val="107000"/>
              </a:lnSpc>
              <a:spcAft>
                <a:spcPts val="1067"/>
              </a:spcAft>
            </a:pPr>
            <a:endParaRPr lang="en-GB" kern="10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1067"/>
              </a:spcAft>
            </a:pPr>
            <a:endParaRPr lang="en-GB" i="1" kern="10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GB"/>
          </a:p>
        </p:txBody>
      </p:sp>
      <p:pic>
        <p:nvPicPr>
          <p:cNvPr id="6" name="Picture 5" descr="A Linked In post from Kate Huxtable describing her experiences of spending time at JCSDA">
            <a:extLst>
              <a:ext uri="{FF2B5EF4-FFF2-40B4-BE49-F238E27FC236}">
                <a16:creationId xmlns:a16="http://schemas.microsoft.com/office/drawing/2014/main" id="{87B781D2-BEB4-C207-6039-861057CC4C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04475" y="997151"/>
            <a:ext cx="4145384" cy="486369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C4E6003-702A-F288-0785-9461060530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45855" y="4814244"/>
            <a:ext cx="2352675" cy="1504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35251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">
            <a:extLst>
              <a:ext uri="{FF2B5EF4-FFF2-40B4-BE49-F238E27FC236}">
                <a16:creationId xmlns:a16="http://schemas.microsoft.com/office/drawing/2014/main" id="{553CE4BB-0F64-2ED1-DBA3-8B3E0F09B4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83696" y="234391"/>
            <a:ext cx="7717804" cy="648111"/>
          </a:xfrm>
        </p:spPr>
        <p:txBody>
          <a:bodyPr>
            <a:noAutofit/>
          </a:bodyPr>
          <a:lstStyle/>
          <a:p>
            <a:r>
              <a:rPr lang="en-GB" sz="3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ing a full career proposition is essential for providing motivating job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3213115-0563-385E-A63A-66EB575F48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8518" y="0"/>
            <a:ext cx="882502" cy="882502"/>
          </a:xfrm>
          <a:prstGeom prst="rect">
            <a:avLst/>
          </a:prstGeom>
        </p:spPr>
      </p:pic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15467CF6-C675-798F-B054-E21CED4400A7}"/>
              </a:ext>
            </a:extLst>
          </p:cNvPr>
          <p:cNvSpPr txBox="1">
            <a:spLocks/>
          </p:cNvSpPr>
          <p:nvPr/>
        </p:nvSpPr>
        <p:spPr>
          <a:xfrm>
            <a:off x="326334" y="1551441"/>
            <a:ext cx="9332015" cy="48922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We’ve been working with a group of our Academic Partners to establish best practi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Identifying suitable interventions at each career sta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Identifying and developing career framework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Exploring course and personal accredit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Supporting higher degree and apprenticeship stud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Developing on-line work-experience modules for school child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Connecting communities across organisa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Establishing training options and bespoke courses</a:t>
            </a:r>
          </a:p>
        </p:txBody>
      </p:sp>
      <p:pic>
        <p:nvPicPr>
          <p:cNvPr id="7" name="Picture 6" descr="Logos of the universities involved in defining the TDSA scope: University of Reading, University of Birmingham; University of Edinburgh; University of Exeter; University of Leeds; and University College London">
            <a:extLst>
              <a:ext uri="{FF2B5EF4-FFF2-40B4-BE49-F238E27FC236}">
                <a16:creationId xmlns:a16="http://schemas.microsoft.com/office/drawing/2014/main" id="{4AA35E1A-E867-D26B-C485-E48E5CD93A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05205" y="1033725"/>
            <a:ext cx="2220913" cy="363888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0B9B5B6-4C60-0820-899A-05859358A2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39325" y="4823831"/>
            <a:ext cx="2352675" cy="1504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96785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">
            <a:extLst>
              <a:ext uri="{FF2B5EF4-FFF2-40B4-BE49-F238E27FC236}">
                <a16:creationId xmlns:a16="http://schemas.microsoft.com/office/drawing/2014/main" id="{DA1FBF74-91BC-D2ED-866C-AFE26652AE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83696" y="234391"/>
            <a:ext cx="7717804" cy="648111"/>
          </a:xfrm>
        </p:spPr>
        <p:txBody>
          <a:bodyPr>
            <a:noAutofit/>
          </a:bodyPr>
          <a:lstStyle/>
          <a:p>
            <a:r>
              <a:rPr lang="en-GB" sz="3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need to be flexible with learning interven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743CDBF-7B26-F5B8-21AD-1893243D84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8518" y="0"/>
            <a:ext cx="882502" cy="882502"/>
          </a:xfrm>
          <a:prstGeom prst="rect">
            <a:avLst/>
          </a:prstGeom>
        </p:spPr>
      </p:pic>
      <p:pic>
        <p:nvPicPr>
          <p:cNvPr id="8" name="Picture 7" descr="A list of different learning interventions to suit different career stages">
            <a:extLst>
              <a:ext uri="{FF2B5EF4-FFF2-40B4-BE49-F238E27FC236}">
                <a16:creationId xmlns:a16="http://schemas.microsoft.com/office/drawing/2014/main" id="{43DA2E83-81DE-732E-A45D-95AA65770D4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789" y="1338851"/>
            <a:ext cx="11520000" cy="490497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404047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>
            <a:extLst>
              <a:ext uri="{FF2B5EF4-FFF2-40B4-BE49-F238E27FC236}">
                <a16:creationId xmlns:a16="http://schemas.microsoft.com/office/drawing/2014/main" id="{1890142B-3A90-1525-610E-D9D47764D43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83696" y="234391"/>
            <a:ext cx="7717804" cy="648111"/>
          </a:xfrm>
        </p:spPr>
        <p:txBody>
          <a:bodyPr>
            <a:noAutofit/>
          </a:bodyPr>
          <a:lstStyle/>
          <a:p>
            <a:r>
              <a:rPr lang="en-GB" sz="3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moting the academy is an essential part of a successful academ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BC1DD3C-F65B-834A-885D-04164245C3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8518" y="0"/>
            <a:ext cx="882502" cy="882502"/>
          </a:xfrm>
          <a:prstGeom prst="rect">
            <a:avLst/>
          </a:prstGeom>
        </p:spPr>
      </p:pic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0AE51C5E-C947-5935-7113-32606B16D4A5}"/>
              </a:ext>
            </a:extLst>
          </p:cNvPr>
          <p:cNvSpPr txBox="1">
            <a:spLocks/>
          </p:cNvSpPr>
          <p:nvPr/>
        </p:nvSpPr>
        <p:spPr>
          <a:xfrm>
            <a:off x="336000" y="1447023"/>
            <a:ext cx="6445800" cy="45075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Outreach has included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A discussion panel at RSECon24 on motivating and meaningful careers for research software engine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Presentation of the Academy work at AM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Met Office Weather Snap interview with Dr Michael Morga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Case study for UK government’s Department for Science Innovation and Technolog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/>
              <a:t>News releases</a:t>
            </a:r>
          </a:p>
        </p:txBody>
      </p:sp>
      <p:pic>
        <p:nvPicPr>
          <p:cNvPr id="7" name="Picture 2" descr="The logo of RSECon24">
            <a:extLst>
              <a:ext uri="{FF2B5EF4-FFF2-40B4-BE49-F238E27FC236}">
                <a16:creationId xmlns:a16="http://schemas.microsoft.com/office/drawing/2014/main" id="{A1245304-CAB4-1448-D90A-4A9731CD44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85448" y="2094165"/>
            <a:ext cx="2219325" cy="905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6" descr="The TDSA presentation at AMS 2024">
            <a:extLst>
              <a:ext uri="{FF2B5EF4-FFF2-40B4-BE49-F238E27FC236}">
                <a16:creationId xmlns:a16="http://schemas.microsoft.com/office/drawing/2014/main" id="{CD5C2153-BA6D-6DFF-365C-B35900D6F2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8661" y="1009376"/>
            <a:ext cx="2729926" cy="1989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A picture of Met Office presenter Claire Nasir and NOAA assistant secretary Dr Michael Morgan as an introduction to a Met Office Weather Snap interview">
            <a:extLst>
              <a:ext uri="{FF2B5EF4-FFF2-40B4-BE49-F238E27FC236}">
                <a16:creationId xmlns:a16="http://schemas.microsoft.com/office/drawing/2014/main" id="{C008E1F5-80CB-E312-9CC4-3D40F63B33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9998" y="3251856"/>
            <a:ext cx="2698589" cy="2659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8CF39FD-2A10-E5C9-DADC-F5D538C4C9F3}"/>
              </a:ext>
            </a:extLst>
          </p:cNvPr>
          <p:cNvSpPr txBox="1"/>
          <p:nvPr/>
        </p:nvSpPr>
        <p:spPr>
          <a:xfrm>
            <a:off x="6968661" y="5925886"/>
            <a:ext cx="29182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0" i="0" u="none" strike="noStrike">
                <a:solidFill>
                  <a:srgbClr val="2A2A2A"/>
                </a:solidFill>
                <a:effectLst/>
                <a:latin typeface="Arial" panose="020B0604020202020204" pitchFamily="34" charset="0"/>
              </a:rPr>
              <a:t>The full recording is available on </a:t>
            </a:r>
            <a:r>
              <a:rPr lang="en-GB" sz="1200" b="0" i="0" u="sng" strike="noStrike">
                <a:solidFill>
                  <a:srgbClr val="0673F9"/>
                </a:solidFill>
                <a:effectLst/>
                <a:latin typeface="Arial" panose="020B0604020202020204" pitchFamily="34" charset="0"/>
                <a:hlinkClick r:id="rId7"/>
              </a:rPr>
              <a:t>YouTube here </a:t>
            </a:r>
            <a:r>
              <a:rPr lang="en-GB" sz="1200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</a:t>
            </a:r>
            <a:endParaRPr lang="en-GB" sz="1200"/>
          </a:p>
        </p:txBody>
      </p:sp>
      <p:pic>
        <p:nvPicPr>
          <p:cNvPr id="10" name="Picture 10" descr="The logo of the UK government's Department for Science, Innovation and Technology">
            <a:extLst>
              <a:ext uri="{FF2B5EF4-FFF2-40B4-BE49-F238E27FC236}">
                <a16:creationId xmlns:a16="http://schemas.microsoft.com/office/drawing/2014/main" id="{3501C094-5470-31EA-017F-43D3AD8BEE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85448" y="3200848"/>
            <a:ext cx="2109958" cy="1315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AA24B29-6A93-DDD5-8D19-4A0731A97F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28705" y="4816934"/>
            <a:ext cx="2352675" cy="1504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8669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Met Office">
      <a:dk1>
        <a:srgbClr val="2A2A2A"/>
      </a:dk1>
      <a:lt1>
        <a:srgbClr val="B9DC0C"/>
      </a:lt1>
      <a:dk2>
        <a:srgbClr val="2A2A2A"/>
      </a:dk2>
      <a:lt2>
        <a:srgbClr val="FFFFFF"/>
      </a:lt2>
      <a:accent1>
        <a:srgbClr val="50B9A4"/>
      </a:accent1>
      <a:accent2>
        <a:srgbClr val="007AA9"/>
      </a:accent2>
      <a:accent3>
        <a:srgbClr val="E47452"/>
      </a:accent3>
      <a:accent4>
        <a:srgbClr val="A1A0AA"/>
      </a:accent4>
      <a:accent5>
        <a:srgbClr val="FFFFFF"/>
      </a:accent5>
      <a:accent6>
        <a:srgbClr val="FFFFFF"/>
      </a:accent6>
      <a:hlink>
        <a:srgbClr val="0673F9"/>
      </a:hlink>
      <a:folHlink>
        <a:srgbClr val="6F2735"/>
      </a:folHlink>
    </a:clrScheme>
    <a:fontScheme name="Met Offi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4 Briefing Pack_DRAFT  -  Read-Only" id="{05512F9F-8761-47F7-9816-45EAFDED8A9E}" vid="{F0BE3A5A-D7E3-4210-8795-F7E2333D82F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E929D3C7B92654E91E0BACE58CAB3FC" ma:contentTypeVersion="19" ma:contentTypeDescription="Create a new document." ma:contentTypeScope="" ma:versionID="f3ac51a8cf82326d55f924de02c2c1d2">
  <xsd:schema xmlns:xsd="http://www.w3.org/2001/XMLSchema" xmlns:xs="http://www.w3.org/2001/XMLSchema" xmlns:p="http://schemas.microsoft.com/office/2006/metadata/properties" xmlns:ns1="http://schemas.microsoft.com/sharepoint/v3" xmlns:ns3="d5f456a8-998e-4615-8aa7-08c9413f4944" xmlns:ns4="39e328b5-fd55-4aa2-9335-b42da031234f" targetNamespace="http://schemas.microsoft.com/office/2006/metadata/properties" ma:root="true" ma:fieldsID="1d621c3429cf23db1428c9c14c57330c" ns1:_="" ns3:_="" ns4:_="">
    <xsd:import namespace="http://schemas.microsoft.com/sharepoint/v3"/>
    <xsd:import namespace="d5f456a8-998e-4615-8aa7-08c9413f4944"/>
    <xsd:import namespace="39e328b5-fd55-4aa2-9335-b42da031234f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1:_ip_UnifiedCompliancePolicyProperties" minOccurs="0"/>
                <xsd:element ref="ns1:_ip_UnifiedCompliancePolicyUIAction" minOccurs="0"/>
                <xsd:element ref="ns4:MediaServiceAutoTags" minOccurs="0"/>
                <xsd:element ref="ns4:MediaServiceAutoKeyPoints" minOccurs="0"/>
                <xsd:element ref="ns4:MediaServiceKeyPoints" minOccurs="0"/>
                <xsd:element ref="ns4:MediaServiceDateTaken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LengthInSeconds" minOccurs="0"/>
                <xsd:element ref="ns4:_activity" minOccurs="0"/>
                <xsd:element ref="ns4:MediaServiceObjectDetectorVersions" minOccurs="0"/>
                <xsd:element ref="ns4:MediaServiceSystemTags" minOccurs="0"/>
                <xsd:element ref="ns4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3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4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f456a8-998e-4615-8aa7-08c9413f494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e328b5-fd55-4aa2-9335-b42da031234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23" nillable="true" ma:displayName="_activity" ma:hidden="true" ma:internalName="_activity">
      <xsd:simpleType>
        <xsd:restriction base="dms:Note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5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_activity xmlns="39e328b5-fd55-4aa2-9335-b42da031234f" xsi:nil="true"/>
  </documentManagement>
</p:properties>
</file>

<file path=customXml/itemProps1.xml><?xml version="1.0" encoding="utf-8"?>
<ds:datastoreItem xmlns:ds="http://schemas.openxmlformats.org/officeDocument/2006/customXml" ds:itemID="{800AEF4E-5A43-4955-891B-6C1AB8D415DF}">
  <ds:schemaRefs>
    <ds:schemaRef ds:uri="39e328b5-fd55-4aa2-9335-b42da031234f"/>
    <ds:schemaRef ds:uri="d5f456a8-998e-4615-8aa7-08c9413f494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993920F-CC3A-4134-9121-4632D7D330C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2150941-0809-488E-A2B4-33C0FB1A8CD2}">
  <ds:schemaRefs>
    <ds:schemaRef ds:uri="39e328b5-fd55-4aa2-9335-b42da031234f"/>
    <ds:schemaRef ds:uri="d5f456a8-998e-4615-8aa7-08c9413f494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17f18161-20d7-4746-87fd-50fe3e3b6619}" enabled="0" method="" siteId="{17f18161-20d7-4746-87fd-50fe3e3b6619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Application>Microsoft Office PowerPoint</Application>
  <PresentationFormat>Widescreen</PresentationFormat>
  <Slides>11</Slides>
  <Notes>8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2" baseType="lpstr">
      <vt:lpstr>1_Office Theme</vt:lpstr>
      <vt:lpstr>The Transatlantic Data Science Academy: A UK perspective</vt:lpstr>
      <vt:lpstr>We need to develop our data science skillsets</vt:lpstr>
      <vt:lpstr>A Transatlantic Data Science workforce fit for the future</vt:lpstr>
      <vt:lpstr>Planning for the future</vt:lpstr>
      <vt:lpstr>The Academy focuses on four main themes</vt:lpstr>
      <vt:lpstr>Exchanges develop new skills and employee experiences</vt:lpstr>
      <vt:lpstr>Developing a full career proposition is essential for providing motivating jobs</vt:lpstr>
      <vt:lpstr>We need to be flexible with learning interventions</vt:lpstr>
      <vt:lpstr>Promoting the academy is an essential part of a successful academy</vt:lpstr>
      <vt:lpstr>There is much still to do to establish an enduring Academy</vt:lpstr>
      <vt:lpstr>The Transatlantic Data Science Academ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mian Wilson</dc:creator>
  <cp:revision>1</cp:revision>
  <dcterms:created xsi:type="dcterms:W3CDTF">2022-04-26T09:06:01Z</dcterms:created>
  <dcterms:modified xsi:type="dcterms:W3CDTF">2024-07-17T11:12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E929D3C7B92654E91E0BACE58CAB3FC</vt:lpwstr>
  </property>
</Properties>
</file>